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4.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5.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6.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theme/themeOverride3.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72" r:id="rId1"/>
    <p:sldMasterId id="2147483759" r:id="rId2"/>
    <p:sldMasterId id="2147483846" r:id="rId3"/>
    <p:sldMasterId id="2147483917" r:id="rId4"/>
    <p:sldMasterId id="2147483991" r:id="rId5"/>
    <p:sldMasterId id="2147484077" r:id="rId6"/>
    <p:sldMasterId id="2147483672" r:id="rId7"/>
  </p:sldMasterIdLst>
  <p:notesMasterIdLst>
    <p:notesMasterId r:id="rId22"/>
  </p:notesMasterIdLst>
  <p:sldIdLst>
    <p:sldId id="292" r:id="rId8"/>
    <p:sldId id="256" r:id="rId9"/>
    <p:sldId id="293" r:id="rId10"/>
    <p:sldId id="258" r:id="rId11"/>
    <p:sldId id="262" r:id="rId12"/>
    <p:sldId id="266" r:id="rId13"/>
    <p:sldId id="268" r:id="rId14"/>
    <p:sldId id="274" r:id="rId15"/>
    <p:sldId id="278" r:id="rId16"/>
    <p:sldId id="280" r:id="rId17"/>
    <p:sldId id="281" r:id="rId18"/>
    <p:sldId id="282" r:id="rId19"/>
    <p:sldId id="298" r:id="rId20"/>
    <p:sldId id="29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52"/>
    <p:restoredTop sz="94694"/>
  </p:normalViewPr>
  <p:slideViewPr>
    <p:cSldViewPr snapToGrid="0">
      <p:cViewPr varScale="1">
        <p:scale>
          <a:sx n="116" d="100"/>
          <a:sy n="116" d="100"/>
        </p:scale>
        <p:origin x="35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782A6F-6C95-284A-8FBA-4194A2C54851}"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6DE53F-C1E4-3646-8696-F68A3CF1805F}" type="slidenum">
              <a:rPr lang="en-US" smtClean="0"/>
              <a:t>‹#›</a:t>
            </a:fld>
            <a:endParaRPr lang="en-US"/>
          </a:p>
        </p:txBody>
      </p:sp>
    </p:spTree>
    <p:extLst>
      <p:ext uri="{BB962C8B-B14F-4D97-AF65-F5344CB8AC3E}">
        <p14:creationId xmlns:p14="http://schemas.microsoft.com/office/powerpoint/2010/main" val="264076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4</a:t>
            </a:fld>
            <a:endParaRPr lang="en-US"/>
          </a:p>
        </p:txBody>
      </p:sp>
    </p:spTree>
    <p:extLst>
      <p:ext uri="{BB962C8B-B14F-4D97-AF65-F5344CB8AC3E}">
        <p14:creationId xmlns:p14="http://schemas.microsoft.com/office/powerpoint/2010/main" val="625909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5</a:t>
            </a:fld>
            <a:endParaRPr lang="en-US"/>
          </a:p>
        </p:txBody>
      </p:sp>
    </p:spTree>
    <p:extLst>
      <p:ext uri="{BB962C8B-B14F-4D97-AF65-F5344CB8AC3E}">
        <p14:creationId xmlns:p14="http://schemas.microsoft.com/office/powerpoint/2010/main" val="4058068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6</a:t>
            </a:fld>
            <a:endParaRPr lang="en-US"/>
          </a:p>
        </p:txBody>
      </p:sp>
    </p:spTree>
    <p:extLst>
      <p:ext uri="{BB962C8B-B14F-4D97-AF65-F5344CB8AC3E}">
        <p14:creationId xmlns:p14="http://schemas.microsoft.com/office/powerpoint/2010/main" val="4048905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7</a:t>
            </a:fld>
            <a:endParaRPr lang="en-US"/>
          </a:p>
        </p:txBody>
      </p:sp>
    </p:spTree>
    <p:extLst>
      <p:ext uri="{BB962C8B-B14F-4D97-AF65-F5344CB8AC3E}">
        <p14:creationId xmlns:p14="http://schemas.microsoft.com/office/powerpoint/2010/main" val="3327198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8</a:t>
            </a:fld>
            <a:endParaRPr lang="en-US"/>
          </a:p>
        </p:txBody>
      </p:sp>
    </p:spTree>
    <p:extLst>
      <p:ext uri="{BB962C8B-B14F-4D97-AF65-F5344CB8AC3E}">
        <p14:creationId xmlns:p14="http://schemas.microsoft.com/office/powerpoint/2010/main" val="3593405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9</a:t>
            </a:fld>
            <a:endParaRPr lang="en-US"/>
          </a:p>
        </p:txBody>
      </p:sp>
    </p:spTree>
    <p:extLst>
      <p:ext uri="{BB962C8B-B14F-4D97-AF65-F5344CB8AC3E}">
        <p14:creationId xmlns:p14="http://schemas.microsoft.com/office/powerpoint/2010/main" val="4092141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10</a:t>
            </a:fld>
            <a:endParaRPr lang="en-US"/>
          </a:p>
        </p:txBody>
      </p:sp>
    </p:spTree>
    <p:extLst>
      <p:ext uri="{BB962C8B-B14F-4D97-AF65-F5344CB8AC3E}">
        <p14:creationId xmlns:p14="http://schemas.microsoft.com/office/powerpoint/2010/main" val="1955228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11</a:t>
            </a:fld>
            <a:endParaRPr lang="en-US"/>
          </a:p>
        </p:txBody>
      </p:sp>
    </p:spTree>
    <p:extLst>
      <p:ext uri="{BB962C8B-B14F-4D97-AF65-F5344CB8AC3E}">
        <p14:creationId xmlns:p14="http://schemas.microsoft.com/office/powerpoint/2010/main" val="1886403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6DE53F-C1E4-3646-8696-F68A3CF1805F}" type="slidenum">
              <a:rPr lang="en-US" smtClean="0"/>
              <a:t>12</a:t>
            </a:fld>
            <a:endParaRPr lang="en-US"/>
          </a:p>
        </p:txBody>
      </p:sp>
    </p:spTree>
    <p:extLst>
      <p:ext uri="{BB962C8B-B14F-4D97-AF65-F5344CB8AC3E}">
        <p14:creationId xmlns:p14="http://schemas.microsoft.com/office/powerpoint/2010/main" val="35189020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e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51.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4.xml"/><Relationship Id="rId4" Type="http://schemas.openxmlformats.org/officeDocument/2006/relationships/image" Target="../media/image65.png"/></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68.sv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69.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0.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1.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51.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2.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2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29.jpe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5.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23.jpe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5.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5.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5.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68.sv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69.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70.sv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71.sv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51.sv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6.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6.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6.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6.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6.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6.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7.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9.svg"/></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11.svg"/></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15.svg"/></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23.jpeg"/></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7.xml"/><Relationship Id="rId4" Type="http://schemas.openxmlformats.org/officeDocument/2006/relationships/image" Target="../media/image29.jpeg"/></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7.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23.jpeg"/></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7.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7.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7.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7.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411210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5700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1590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604427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41658879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91554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372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418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0635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9932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9779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443425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8612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06344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8208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680480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52438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915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10909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33219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79783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578605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562036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41909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52929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640690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41802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16196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0850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130817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0912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4662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41170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5053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0064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07439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93486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48874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6262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5289817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717456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73058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46209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919577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742537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118049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377195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6256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176173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129120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6225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4239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48480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01858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77263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6841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5884631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8087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16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7936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226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3940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9049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2124314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859027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221696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9493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9691701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02993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038839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54752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6243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6338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57615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2587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364659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024921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817989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71690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660988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Click to 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36517449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544372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59182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44659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7807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4648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9113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46313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688885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318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33948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0144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4891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5285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97933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7551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697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368353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22008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048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23265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3427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3603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7213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11852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93258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11435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497946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173785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387726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87356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79287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435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93864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28233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36625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5307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94900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25946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75509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69140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92566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1677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07168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63127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69138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09986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978931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934099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08430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245703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931306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652339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33914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6580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084573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448119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9810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1697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52590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8127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43577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8092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1563572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478834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74268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1638157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26396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456315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83011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19261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8899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06212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9594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572856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41853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4168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C0BF4E-711B-4534-8A27-937BC1634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a16="http://schemas.microsoft.com/office/drawing/2014/main" id="{EBC0BF4E-711B-4534-8A27-937BC1634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E0BCE0-E102-4EB5-8642-38C1AEF67182}"/>
              </a:ext>
            </a:extLst>
          </p:cNvPr>
          <p:cNvSpPr/>
          <p:nvPr userDrawn="1">
            <p:custDataLst>
              <p:tags r:id="rId2"/>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percu Pro"/>
              <a:ea typeface="+mj-ea"/>
              <a:cs typeface="+mj-cs"/>
              <a:sym typeface="Apercu Pro"/>
            </a:endParaRPr>
          </a:p>
        </p:txBody>
      </p:sp>
    </p:spTree>
    <p:extLst>
      <p:ext uri="{BB962C8B-B14F-4D97-AF65-F5344CB8AC3E}">
        <p14:creationId xmlns:p14="http://schemas.microsoft.com/office/powerpoint/2010/main" val="125777370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gradFill>
                  <a:gsLst>
                    <a:gs pos="83000">
                      <a:schemeClr val="tx1"/>
                    </a:gs>
                    <a:gs pos="100000">
                      <a:schemeClr val="tx1"/>
                    </a:gs>
                  </a:gsLst>
                  <a:lin ang="5400000" scaled="1"/>
                </a:gra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84617705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1" y="0"/>
            <a:ext cx="7520900" cy="6858000"/>
          </a:xfrm>
          <a:prstGeom prst="rect">
            <a:avLst/>
          </a:prstGeom>
        </p:spPr>
      </p:pic>
      <p:sp>
        <p:nvSpPr>
          <p:cNvPr id="3" name="Rectangle 2">
            <a:extLst>
              <a:ext uri="{FF2B5EF4-FFF2-40B4-BE49-F238E27FC236}">
                <a16:creationId xmlns:a16="http://schemas.microsoft.com/office/drawing/2014/main" id="{06A538FA-0CCB-BBDB-30E4-ABB1A2C63EDB}"/>
              </a:ext>
            </a:extLst>
          </p:cNvPr>
          <p:cNvSpPr/>
          <p:nvPr userDrawn="1"/>
        </p:nvSpPr>
        <p:spPr bwMode="auto">
          <a:xfrm>
            <a:off x="833377" y="2384385"/>
            <a:ext cx="10556112" cy="236123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38437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55227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a:ext>
              </a:extLst>
            </a:blip>
            <a:srcRect/>
            <a:stretch>
              <a:fillRect l="-9524" r="-2494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065155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a:ext>
              </a:extLst>
            </a:blip>
            <a:srcRect/>
            <a:stretch>
              <a:fillRect l="-81356" t="-33940" r="-31774"/>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099909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a:srcRect/>
            <a:stretch>
              <a:fillRect l="-813" r="-54153"/>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354725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37316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802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3793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8111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1347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2338123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052653867"/>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1"/>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666189"/>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51102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9"/>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9"/>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57200"/>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603774925"/>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71646561"/>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1807886"/>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51410047"/>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009896"/>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592318"/>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451689"/>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285112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730787"/>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42862"/>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382279"/>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7320294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10202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7288765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00796894"/>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3" cy="98488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68484865"/>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7" orient="horz" pos="4665">
          <p15:clr>
            <a:srgbClr val="5ACBF0"/>
          </p15:clr>
        </p15:guide>
        <p15:guide id="8" orient="horz" pos="5276">
          <p15:clr>
            <a:srgbClr val="5ACBF0"/>
          </p15:clr>
        </p15:guide>
        <p15:guide id="10" pos="8839">
          <p15:clr>
            <a:srgbClr val="C35EA4"/>
          </p15:clr>
        </p15:guide>
        <p15:guide id="11" pos="7095">
          <p15:clr>
            <a:srgbClr val="5ACBF0"/>
          </p15:clr>
        </p15:guide>
        <p15:guide id="12" pos="8399">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934970"/>
            <a:ext cx="4159951" cy="98488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35426107"/>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5" orient="horz" pos="5120">
          <p15:clr>
            <a:srgbClr val="5ACBF0"/>
          </p15:clr>
        </p15:guide>
        <p15:guide id="6" pos="7089">
          <p15:clr>
            <a:srgbClr val="5ACBF0"/>
          </p15:clr>
        </p15:guide>
        <p15:guide id="7" pos="8837">
          <p15:clr>
            <a:srgbClr val="C35EA4"/>
          </p15:clr>
        </p15:guide>
        <p15:guide id="8" pos="8400">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495966099"/>
      </p:ext>
    </p:extLst>
  </p:cSld>
  <p:clrMapOvr>
    <a:masterClrMapping/>
  </p:clrMapOvr>
  <p:transition>
    <p:fade/>
  </p:transition>
  <p:extLst>
    <p:ext uri="{DCECCB84-F9BA-43D5-87BE-67443E8EF086}">
      <p15:sldGuideLst xmlns:p15="http://schemas.microsoft.com/office/powerpoint/2012/main">
        <p15:guide id="2" pos="7964">
          <p15:clr>
            <a:srgbClr val="5ACBF0"/>
          </p15:clr>
        </p15:guide>
        <p15:guide id="3" orient="horz" pos="4449">
          <p15:clr>
            <a:srgbClr val="5ACBF0"/>
          </p15:clr>
        </p15:guide>
        <p15:guide id="4" pos="8844">
          <p15:clr>
            <a:srgbClr val="C35EA4"/>
          </p15:clr>
        </p15:guide>
        <p15:guide id="5" pos="7095">
          <p15:clr>
            <a:srgbClr val="5ACBF0"/>
          </p15:clr>
        </p15:guide>
        <p15:guide id="6" pos="840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55083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0546496"/>
      </p:ext>
    </p:extLst>
  </p:cSld>
  <p:clrMapOvr>
    <a:masterClrMapping/>
  </p:clrMapOvr>
  <p:transition>
    <p:fade/>
  </p:transition>
  <p:extLst>
    <p:ext uri="{DCECCB84-F9BA-43D5-87BE-67443E8EF086}">
      <p15:sldGuideLst xmlns:p15="http://schemas.microsoft.com/office/powerpoint/2012/main">
        <p15:guide id="1" orient="horz" pos="546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02483792"/>
      </p:ext>
    </p:extLst>
  </p:cSld>
  <p:clrMapOvr>
    <a:masterClrMapping/>
  </p:clrMapOvr>
  <p:transition>
    <p:fade/>
  </p:transition>
  <p:extLst>
    <p:ext uri="{DCECCB84-F9BA-43D5-87BE-67443E8EF086}">
      <p15:sldGuideLst xmlns:p15="http://schemas.microsoft.com/office/powerpoint/2012/main">
        <p15:guide id="7" pos="8476">
          <p15:clr>
            <a:srgbClr val="5ACBF0"/>
          </p15:clr>
        </p15:guide>
        <p15:guide id="8" orient="horz" pos="512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64752965"/>
      </p:ext>
    </p:extLst>
  </p:cSld>
  <p:clrMapOvr>
    <a:masterClrMapping/>
  </p:clrMapOvr>
  <p:transition>
    <p:fade/>
  </p:transition>
  <p:extLst>
    <p:ext uri="{DCECCB84-F9BA-43D5-87BE-67443E8EF086}">
      <p15:sldGuideLst xmlns:p15="http://schemas.microsoft.com/office/powerpoint/2012/main">
        <p15:guide id="7" pos="9729">
          <p15:clr>
            <a:srgbClr val="5ACBF0"/>
          </p15:clr>
        </p15:guide>
        <p15:guide id="8" orient="horz" pos="512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5"/>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34075270"/>
      </p:ext>
    </p:extLst>
  </p:cSld>
  <p:clrMapOvr>
    <a:masterClrMapping/>
  </p:clrMapOvr>
  <p:transition>
    <p:fade/>
  </p:transition>
  <p:extLst>
    <p:ext uri="{DCECCB84-F9BA-43D5-87BE-67443E8EF086}">
      <p15:sldGuideLst xmlns:p15="http://schemas.microsoft.com/office/powerpoint/2012/main">
        <p15:guide id="5" orient="horz" pos="6827">
          <p15:clr>
            <a:srgbClr val="5ACBF0"/>
          </p15:clr>
        </p15:guide>
        <p15:guide id="6" orient="horz" pos="8533">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4"/>
            <a:ext cx="11018520" cy="492443"/>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34040364"/>
      </p:ext>
    </p:extLst>
  </p:cSld>
  <p:clrMapOvr>
    <a:masterClrMapping/>
  </p:clrMapOvr>
  <p:transition>
    <p:fade/>
  </p:transition>
  <p:extLst>
    <p:ext uri="{DCECCB84-F9BA-43D5-87BE-67443E8EF086}">
      <p15:sldGuideLst xmlns:p15="http://schemas.microsoft.com/office/powerpoint/2012/main">
        <p15:guide id="5" orient="horz" pos="3413">
          <p15:clr>
            <a:srgbClr val="5ACBF0"/>
          </p15:clr>
        </p15:guide>
        <p15:guide id="6" orient="horz" pos="1707">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1"/>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74552906"/>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8887">
          <p15:clr>
            <a:srgbClr val="5ACBF0"/>
          </p15:clr>
        </p15:guide>
        <p15:guide id="7" pos="9317">
          <p15:clr>
            <a:srgbClr val="5ACBF0"/>
          </p15:clr>
        </p15:guide>
        <p15:guide id="8" orient="horz" pos="821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1"/>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1"/>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89169934"/>
      </p:ext>
    </p:extLst>
  </p:cSld>
  <p:clrMapOvr>
    <a:masterClrMapping/>
  </p:clrMapOvr>
  <p:transition>
    <p:fade/>
  </p:transition>
  <p:extLst>
    <p:ext uri="{DCECCB84-F9BA-43D5-87BE-67443E8EF086}">
      <p15:sldGuideLst xmlns:p15="http://schemas.microsoft.com/office/powerpoint/2012/main">
        <p15:guide id="3" orient="horz" pos="8496">
          <p15:clr>
            <a:srgbClr val="5ACBF0"/>
          </p15:clr>
        </p15:guide>
        <p15:guide id="4" orient="horz" pos="3024">
          <p15:clr>
            <a:srgbClr val="5ACBF0"/>
          </p15:clr>
        </p15:guide>
        <p15:guide id="5" orient="horz" pos="683">
          <p15:clr>
            <a:srgbClr val="5ACBF0"/>
          </p15:clr>
        </p15:guide>
        <p15:guide id="6" pos="6060">
          <p15:clr>
            <a:srgbClr val="5ACBF0"/>
          </p15:clr>
        </p15:guide>
        <p15:guide id="7" pos="6505">
          <p15:clr>
            <a:srgbClr val="5ACBF0"/>
          </p15:clr>
        </p15:guide>
        <p15:guide id="8" pos="11700">
          <p15:clr>
            <a:srgbClr val="5ACBF0"/>
          </p15:clr>
        </p15:guide>
        <p15:guide id="9" pos="12144">
          <p15:clr>
            <a:srgbClr val="5ACBF0"/>
          </p15:clr>
        </p15:guide>
        <p15:guide id="10" orient="horz" pos="82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504993539"/>
      </p:ext>
    </p:extLst>
  </p:cSld>
  <p:clrMapOvr>
    <a:masterClrMapping/>
  </p:clrMapOvr>
  <p:transition>
    <p:fade/>
  </p:transition>
  <p:extLst>
    <p:ext uri="{DCECCB84-F9BA-43D5-87BE-67443E8EF086}">
      <p15:sldGuideLst xmlns:p15="http://schemas.microsoft.com/office/powerpoint/2012/main">
        <p15:guide id="3" orient="horz" pos="7095">
          <p15:clr>
            <a:srgbClr val="5ACBF0"/>
          </p15:clr>
        </p15:guide>
        <p15:guide id="4" orient="horz" pos="3024">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680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533475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4" orient="horz" pos="7607">
          <p15:clr>
            <a:srgbClr val="5ACBF0"/>
          </p15:clr>
        </p15:guide>
        <p15:guide id="5" pos="9068">
          <p15:clr>
            <a:srgbClr val="5ACBF0"/>
          </p15:clr>
        </p15:guide>
        <p15:guide id="6" pos="9147">
          <p15:clr>
            <a:srgbClr val="5ACBF0"/>
          </p15:clr>
        </p15:guide>
        <p15:guide id="11" pos="4528">
          <p15:clr>
            <a:srgbClr val="5ACBF0"/>
          </p15:clr>
        </p15:guide>
        <p15:guide id="12" pos="13676">
          <p15:clr>
            <a:srgbClr val="5ACBF0"/>
          </p15:clr>
        </p15:guide>
        <p15:guide id="13" orient="horz" pos="7964">
          <p15:clr>
            <a:srgbClr val="5ACBF0"/>
          </p15:clr>
        </p15:guide>
        <p15:guide id="14" orient="horz">
          <p15:clr>
            <a:srgbClr val="5ACBF0"/>
          </p15:clr>
        </p15:guide>
        <p15:guide id="15" pos="8180">
          <p15:clr>
            <a:srgbClr val="5ACBF0"/>
          </p15:clr>
        </p15:guide>
        <p15:guide id="16" pos="1002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49"/>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07539351"/>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6007">
          <p15:clr>
            <a:srgbClr val="5ACBF0"/>
          </p15:clr>
        </p15:guide>
        <p15:guide id="6" pos="6100">
          <p15:clr>
            <a:srgbClr val="5ACBF0"/>
          </p15:clr>
        </p15:guide>
        <p15:guide id="8" pos="12111">
          <p15:clr>
            <a:srgbClr val="5ACBF0"/>
          </p15:clr>
        </p15:guide>
        <p15:guide id="9" pos="12196">
          <p15:clr>
            <a:srgbClr val="5ACBF0"/>
          </p15:clr>
        </p15:guide>
        <p15:guide id="11" pos="3001">
          <p15:clr>
            <a:srgbClr val="5ACBF0"/>
          </p15:clr>
        </p15:guide>
        <p15:guide id="12" pos="9103">
          <p15:clr>
            <a:srgbClr val="5ACBF0"/>
          </p15:clr>
        </p15:guide>
        <p15:guide id="13" pos="15204">
          <p15:clr>
            <a:srgbClr val="5ACBF0"/>
          </p15:clr>
        </p15:guide>
        <p15:guide id="14" orient="horz" pos="2545">
          <p15:clr>
            <a:srgbClr val="5ACBF0"/>
          </p15:clr>
        </p15:guide>
        <p15:guide id="15" pos="5140">
          <p15:clr>
            <a:srgbClr val="5ACBF0"/>
          </p15:clr>
        </p15:guide>
        <p15:guide id="16" pos="6977">
          <p15:clr>
            <a:srgbClr val="5ACBF0"/>
          </p15:clr>
        </p15:guide>
        <p15:guide id="17" pos="11231">
          <p15:clr>
            <a:srgbClr val="5ACBF0"/>
          </p15:clr>
        </p15:guide>
        <p15:guide id="18" pos="1307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789221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9692229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5" pos="4480">
          <p15:clr>
            <a:srgbClr val="5ACBF0"/>
          </p15:clr>
        </p15:guide>
        <p15:guide id="6" pos="4575">
          <p15:clr>
            <a:srgbClr val="5ACBF0"/>
          </p15:clr>
        </p15:guide>
        <p15:guide id="7" pos="13627">
          <p15:clr>
            <a:srgbClr val="5ACBF0"/>
          </p15:clr>
        </p15:guide>
        <p15:guide id="8" pos="9055">
          <p15:clr>
            <a:srgbClr val="5ACBF0"/>
          </p15:clr>
        </p15:guide>
        <p15:guide id="9" pos="9151">
          <p15:clr>
            <a:srgbClr val="5ACBF0"/>
          </p15:clr>
        </p15:guide>
        <p15:guide id="10" pos="13723">
          <p15:clr>
            <a:srgbClr val="5ACBF0"/>
          </p15:clr>
        </p15:guide>
        <p15:guide id="11" pos="2239">
          <p15:clr>
            <a:srgbClr val="5ACBF0"/>
          </p15:clr>
        </p15:guide>
        <p15:guide id="12" pos="6817">
          <p15:clr>
            <a:srgbClr val="5ACBF0"/>
          </p15:clr>
        </p15:guide>
        <p15:guide id="13" pos="11393">
          <p15:clr>
            <a:srgbClr val="5ACBF0"/>
          </p15:clr>
        </p15:guide>
        <p15:guide id="14" pos="15967">
          <p15:clr>
            <a:srgbClr val="5ACBF0"/>
          </p15:clr>
        </p15:guide>
        <p15:guide id="15" orient="horz">
          <p15:clr>
            <a:srgbClr val="5ACBF0"/>
          </p15:clr>
        </p15:guide>
        <p15:guide id="16" pos="3612">
          <p15:clr>
            <a:srgbClr val="5ACBF0"/>
          </p15:clr>
        </p15:guide>
        <p15:guide id="17" pos="5447">
          <p15:clr>
            <a:srgbClr val="5ACBF0"/>
          </p15:clr>
        </p15:guide>
        <p15:guide id="18" pos="8177">
          <p15:clr>
            <a:srgbClr val="5ACBF0"/>
          </p15:clr>
        </p15:guide>
        <p15:guide id="19" pos="10027">
          <p15:clr>
            <a:srgbClr val="5ACBF0"/>
          </p15:clr>
        </p15:guide>
        <p15:guide id="20" pos="12752">
          <p15:clr>
            <a:srgbClr val="5ACBF0"/>
          </p15:clr>
        </p15:guide>
        <p15:guide id="21" pos="1459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38449217"/>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3413">
          <p15:clr>
            <a:srgbClr val="5ACBF0"/>
          </p15:clr>
        </p15:guide>
        <p15:guide id="3" orient="horz" pos="6827">
          <p15:clr>
            <a:srgbClr val="5ACBF0"/>
          </p15:clr>
        </p15:guide>
        <p15:guide id="4" orient="horz" pos="7168">
          <p15:clr>
            <a:srgbClr val="5ACBF0"/>
          </p15:clr>
        </p15:guide>
        <p15:guide id="8" pos="10977">
          <p15:clr>
            <a:srgbClr val="5ACBF0"/>
          </p15:clr>
        </p15:guide>
        <p15:guide id="9" pos="10887">
          <p15:clr>
            <a:srgbClr val="5ACBF0"/>
          </p15:clr>
        </p15:guide>
        <p15:guide id="10" pos="14540">
          <p15:clr>
            <a:srgbClr val="5ACBF0"/>
          </p15:clr>
        </p15:guide>
        <p15:guide id="11" pos="3136">
          <p15:clr>
            <a:srgbClr val="5ACBF0"/>
          </p15:clr>
        </p15:guide>
        <p15:guide id="12" pos="6791">
          <p15:clr>
            <a:srgbClr val="5ACBF0"/>
          </p15:clr>
        </p15:guide>
        <p15:guide id="13" pos="11413">
          <p15:clr>
            <a:srgbClr val="5ACBF0"/>
          </p15:clr>
        </p15:guide>
        <p15:guide id="14" pos="15077">
          <p15:clr>
            <a:srgbClr val="5ACBF0"/>
          </p15:clr>
        </p15:guide>
        <p15:guide id="15" orient="horz">
          <p15:clr>
            <a:srgbClr val="5ACBF0"/>
          </p15:clr>
        </p15:guide>
        <p15:guide id="16" pos="4095">
          <p15:clr>
            <a:srgbClr val="5ACBF0"/>
          </p15:clr>
        </p15:guide>
        <p15:guide id="17" pos="5439">
          <p15:clr>
            <a:srgbClr val="5ACBF0"/>
          </p15:clr>
        </p15:guide>
        <p15:guide id="18" pos="7759">
          <p15:clr>
            <a:srgbClr val="5ACBF0"/>
          </p15:clr>
        </p15:guide>
        <p15:guide id="19" pos="10455">
          <p15:clr>
            <a:srgbClr val="5ACBF0"/>
          </p15:clr>
        </p15:guide>
        <p15:guide id="21" pos="14647">
          <p15:clr>
            <a:srgbClr val="5ACBF0"/>
          </p15:clr>
        </p15:guide>
        <p15:guide id="22" pos="3557">
          <p15:clr>
            <a:srgbClr val="5ACBF0"/>
          </p15:clr>
        </p15:guide>
        <p15:guide id="23" pos="3657">
          <p15:clr>
            <a:srgbClr val="5ACBF0"/>
          </p15:clr>
        </p15:guide>
        <p15:guide id="24" pos="7227">
          <p15:clr>
            <a:srgbClr val="5ACBF0"/>
          </p15:clr>
        </p15:guide>
        <p15:guide id="25" pos="7319">
          <p15:clr>
            <a:srgbClr val="5ACBF0"/>
          </p15:clr>
        </p15:guide>
        <p15:guide id="26" pos="14113">
          <p15:clr>
            <a:srgbClr val="5ACBF0"/>
          </p15:clr>
        </p15:guide>
        <p15:guide id="27" pos="9103">
          <p15:clr>
            <a:srgbClr val="5ACBF0"/>
          </p15:clr>
        </p15:guide>
        <p15:guide id="28" pos="12767">
          <p15:clr>
            <a:srgbClr val="5ACBF0"/>
          </p15:clr>
        </p15:guide>
        <p15:guide id="29" pos="1785">
          <p15:clr>
            <a:srgbClr val="5ACBF0"/>
          </p15:clr>
        </p15:guide>
        <p15:guide id="30" pos="16420">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3092278"/>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103">
          <p15:clr>
            <a:srgbClr val="5ACBF0"/>
          </p15:clr>
        </p15:guide>
        <p15:guide id="4" pos="3041">
          <p15:clr>
            <a:srgbClr val="5ACBF0"/>
          </p15:clr>
        </p15:guide>
        <p15:guide id="5" pos="13431">
          <p15:clr>
            <a:srgbClr val="5ACBF0"/>
          </p15:clr>
        </p15:guide>
        <p15:guide id="6" pos="6497">
          <p15:clr>
            <a:srgbClr val="5ACBF0"/>
          </p15:clr>
        </p15:guide>
        <p15:guide id="7" pos="4769">
          <p15:clr>
            <a:srgbClr val="5ACBF0"/>
          </p15:clr>
        </p15:guide>
        <p15:guide id="8" pos="7369">
          <p15:clr>
            <a:srgbClr val="5ACBF0"/>
          </p15:clr>
        </p15:guide>
        <p15:guide id="9" pos="10832">
          <p15:clr>
            <a:srgbClr val="5ACBF0"/>
          </p15:clr>
        </p15:guide>
        <p15:guide id="11" pos="15163">
          <p15:clr>
            <a:srgbClr val="5ACBF0"/>
          </p15:clr>
        </p15:guide>
        <p15:guide id="12" orient="horz" pos="3413">
          <p15:clr>
            <a:srgbClr val="5ACBF0"/>
          </p15:clr>
        </p15:guide>
        <p15:guide id="13" pos="11705">
          <p15:clr>
            <a:srgbClr val="5ACBF0"/>
          </p15:clr>
        </p15:guide>
        <p15:guide id="14" orient="horz" pos="6860">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58152021"/>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7168">
          <p15:clr>
            <a:srgbClr val="5ACBF0"/>
          </p15:clr>
        </p15:guide>
        <p15:guide id="3" pos="9541">
          <p15:clr>
            <a:srgbClr val="5ACBF0"/>
          </p15:clr>
        </p15:guide>
        <p15:guide id="5" pos="13876">
          <p15:clr>
            <a:srgbClr val="5ACBF0"/>
          </p15:clr>
        </p15:guide>
        <p15:guide id="7" pos="8661">
          <p15:clr>
            <a:srgbClr val="5ACBF0"/>
          </p15:clr>
        </p15:guide>
        <p15:guide id="8" pos="5204">
          <p15:clr>
            <a:srgbClr val="5ACBF0"/>
          </p15:clr>
        </p15:guide>
        <p15:guide id="10" pos="6935">
          <p15:clr>
            <a:srgbClr val="5ACBF0"/>
          </p15:clr>
        </p15:guide>
        <p15:guide id="11" pos="11273">
          <p15:clr>
            <a:srgbClr val="5ACBF0"/>
          </p15:clr>
        </p15:guide>
        <p15:guide id="12" pos="15600">
          <p15:clr>
            <a:srgbClr val="5ACBF0"/>
          </p15:clr>
        </p15:guide>
        <p15:guide id="13" pos="2601">
          <p15:clr>
            <a:srgbClr val="5ACBF0"/>
          </p15:clr>
        </p15:guide>
        <p15:guide id="14" orient="horz" pos="3413">
          <p15:clr>
            <a:srgbClr val="5ACBF0"/>
          </p15:clr>
        </p15:guide>
        <p15:guide id="15" pos="4329">
          <p15:clr>
            <a:srgbClr val="5ACBF0"/>
          </p15:clr>
        </p15:guide>
        <p15:guide id="18" pos="12997">
          <p15:clr>
            <a:srgbClr val="5ACBF0"/>
          </p15:clr>
        </p15:guide>
        <p15:guide id="19" orient="horz" pos="6869">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69"/>
            <a:ext cx="11018520" cy="492443"/>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9"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9"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13423875"/>
      </p:ext>
    </p:extLst>
  </p:cSld>
  <p:clrMapOvr>
    <a:masterClrMapping/>
  </p:clrMapOvr>
  <p:transition>
    <p:fade/>
  </p:transition>
  <p:extLst>
    <p:ext uri="{DCECCB84-F9BA-43D5-87BE-67443E8EF086}">
      <p15:sldGuideLst xmlns:p15="http://schemas.microsoft.com/office/powerpoint/2012/main">
        <p15:guide id="1" orient="horz" pos="1707">
          <p15:clr>
            <a:srgbClr val="5ACBF0"/>
          </p15:clr>
        </p15:guide>
        <p15:guide id="2" orient="horz" pos="6315">
          <p15:clr>
            <a:srgbClr val="5ACBF0"/>
          </p15:clr>
        </p15:guide>
        <p15:guide id="3" pos="14735">
          <p15:clr>
            <a:srgbClr val="5ACBF0"/>
          </p15:clr>
        </p15:guide>
        <p15:guide id="5" pos="13867">
          <p15:clr>
            <a:srgbClr val="5ACBF0"/>
          </p15:clr>
        </p15:guide>
        <p15:guide id="7" pos="10411">
          <p15:clr>
            <a:srgbClr val="5ACBF0"/>
          </p15:clr>
        </p15:guide>
        <p15:guide id="8" pos="7803">
          <p15:clr>
            <a:srgbClr val="5ACBF0"/>
          </p15:clr>
        </p15:guide>
        <p15:guide id="10" pos="6935">
          <p15:clr>
            <a:srgbClr val="5ACBF0"/>
          </p15:clr>
        </p15:guide>
        <p15:guide id="11" pos="11269">
          <p15:clr>
            <a:srgbClr val="5ACBF0"/>
          </p15:clr>
        </p15:guide>
        <p15:guide id="13" pos="3471">
          <p15:clr>
            <a:srgbClr val="5ACBF0"/>
          </p15:clr>
        </p15:guide>
        <p15:guide id="14" orient="horz" pos="3413">
          <p15:clr>
            <a:srgbClr val="5ACBF0"/>
          </p15:clr>
        </p15:guide>
        <p15:guide id="15" pos="4337">
          <p15:clr>
            <a:srgbClr val="5ACBF0"/>
          </p15:clr>
        </p15:guide>
        <p15:guide id="16" orient="horz" pos="60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151567"/>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60700068"/>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432840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47027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55725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33740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3228222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078931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6716202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1715247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349852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3498215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34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73945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15434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279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949255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04371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4857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0715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34" t="-8952" r="9734"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4249511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20" t="-7479" r="945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35923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18" t="28169" r="8525" b="29620"/>
          <a:stretch/>
        </p:blipFill>
        <p:spPr>
          <a:xfrm>
            <a:off x="5270501" y="2241551"/>
            <a:ext cx="6921500" cy="2374900"/>
          </a:xfrm>
          <a:prstGeom prst="rect">
            <a:avLst/>
          </a:prstGeom>
        </p:spPr>
      </p:pic>
    </p:spTree>
    <p:extLst>
      <p:ext uri="{BB962C8B-B14F-4D97-AF65-F5344CB8AC3E}">
        <p14:creationId xmlns:p14="http://schemas.microsoft.com/office/powerpoint/2010/main" val="4058408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784790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072" t="-2958" r="12496"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12573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4068626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005946"/>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906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50434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900485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3948683"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6873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4789174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58967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065394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
        <p:nvSpPr>
          <p:cNvPr id="3" name="Rectangle 2">
            <a:extLst>
              <a:ext uri="{FF2B5EF4-FFF2-40B4-BE49-F238E27FC236}">
                <a16:creationId xmlns:a16="http://schemas.microsoft.com/office/drawing/2014/main" id="{D5B2A2D8-A45E-466C-B1BC-1A1998A00291}"/>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50154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6B64CD5-DF3A-4DA7-9433-28ED5330D93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21142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grpSp>
        <p:nvGrpSpPr>
          <p:cNvPr id="6" name="Threat detection">
            <a:extLst>
              <a:ext uri="{FF2B5EF4-FFF2-40B4-BE49-F238E27FC236}">
                <a16:creationId xmlns:a16="http://schemas.microsoft.com/office/drawing/2014/main" id="{3168A38A-4D25-4EB6-9233-64E858091C6D}"/>
              </a:ext>
            </a:extLst>
          </p:cNvPr>
          <p:cNvGrpSpPr/>
          <p:nvPr userDrawn="1"/>
        </p:nvGrpSpPr>
        <p:grpSpPr>
          <a:xfrm>
            <a:off x="7245617" y="2483271"/>
            <a:ext cx="4483929" cy="3909444"/>
            <a:chOff x="898231" y="1190761"/>
            <a:chExt cx="983586" cy="857568"/>
          </a:xfrm>
        </p:grpSpPr>
        <p:sp>
          <p:nvSpPr>
            <p:cNvPr id="8" name="Threat detection">
              <a:extLst>
                <a:ext uri="{FF2B5EF4-FFF2-40B4-BE49-F238E27FC236}">
                  <a16:creationId xmlns:a16="http://schemas.microsoft.com/office/drawing/2014/main" id="{9271BA66-3231-4C28-A16D-608B823B32D5}"/>
                </a:ext>
              </a:extLst>
            </p:cNvPr>
            <p:cNvSpPr/>
            <p:nvPr/>
          </p:nvSpPr>
          <p:spPr>
            <a:xfrm>
              <a:off x="898231" y="1749301"/>
              <a:ext cx="128154" cy="299027"/>
            </a:xfrm>
            <a:custGeom>
              <a:avLst/>
              <a:gdLst>
                <a:gd name="connsiteX0" fmla="*/ 64077 w 128154"/>
                <a:gd name="connsiteY0" fmla="*/ 299028 h 299027"/>
                <a:gd name="connsiteX1" fmla="*/ 0 w 128154"/>
                <a:gd name="connsiteY1" fmla="*/ 234950 h 299027"/>
                <a:gd name="connsiteX2" fmla="*/ 0 w 128154"/>
                <a:gd name="connsiteY2" fmla="*/ 64077 h 299027"/>
                <a:gd name="connsiteX3" fmla="*/ 64077 w 128154"/>
                <a:gd name="connsiteY3" fmla="*/ 0 h 299027"/>
                <a:gd name="connsiteX4" fmla="*/ 128155 w 128154"/>
                <a:gd name="connsiteY4" fmla="*/ 64077 h 299027"/>
                <a:gd name="connsiteX5" fmla="*/ 128155 w 128154"/>
                <a:gd name="connsiteY5" fmla="*/ 234950 h 299027"/>
                <a:gd name="connsiteX6" fmla="*/ 64077 w 128154"/>
                <a:gd name="connsiteY6" fmla="*/ 299028 h 29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4" h="299027">
                  <a:moveTo>
                    <a:pt x="64077" y="299028"/>
                  </a:moveTo>
                  <a:cubicBezTo>
                    <a:pt x="28621" y="299028"/>
                    <a:pt x="0" y="270406"/>
                    <a:pt x="0" y="234950"/>
                  </a:cubicBezTo>
                  <a:lnTo>
                    <a:pt x="0" y="64077"/>
                  </a:lnTo>
                  <a:cubicBezTo>
                    <a:pt x="0" y="28621"/>
                    <a:pt x="28621" y="0"/>
                    <a:pt x="64077" y="0"/>
                  </a:cubicBezTo>
                  <a:cubicBezTo>
                    <a:pt x="99533" y="0"/>
                    <a:pt x="128155" y="28621"/>
                    <a:pt x="128155" y="64077"/>
                  </a:cubicBezTo>
                  <a:lnTo>
                    <a:pt x="128155" y="234950"/>
                  </a:lnTo>
                  <a:cubicBezTo>
                    <a:pt x="128155" y="270406"/>
                    <a:pt x="99533" y="299028"/>
                    <a:pt x="64077" y="299028"/>
                  </a:cubicBezTo>
                  <a:close/>
                </a:path>
              </a:pathLst>
            </a:custGeom>
            <a:solidFill>
              <a:srgbClr val="FFFFFF"/>
            </a:solidFill>
            <a:ln w="2129" cap="flat">
              <a:noFill/>
              <a:prstDash val="solid"/>
              <a:miter/>
            </a:ln>
          </p:spPr>
          <p:txBody>
            <a:bodyPr rtlCol="0" anchor="ctr"/>
            <a:lstStyle/>
            <a:p>
              <a:endParaRPr lang="en-US" sz="1800"/>
            </a:p>
          </p:txBody>
        </p:sp>
        <p:grpSp>
          <p:nvGrpSpPr>
            <p:cNvPr id="11" name="Threat detection">
              <a:extLst>
                <a:ext uri="{FF2B5EF4-FFF2-40B4-BE49-F238E27FC236}">
                  <a16:creationId xmlns:a16="http://schemas.microsoft.com/office/drawing/2014/main" id="{6D71BEBF-785D-40F2-B703-D366BD4B0C4F}"/>
                </a:ext>
              </a:extLst>
            </p:cNvPr>
            <p:cNvGrpSpPr/>
            <p:nvPr/>
          </p:nvGrpSpPr>
          <p:grpSpPr>
            <a:xfrm>
              <a:off x="921726" y="1597438"/>
              <a:ext cx="81591" cy="89708"/>
              <a:chOff x="921726" y="1597438"/>
              <a:chExt cx="81591" cy="89708"/>
            </a:xfrm>
            <a:solidFill>
              <a:srgbClr val="FFFFFF"/>
            </a:solidFill>
          </p:grpSpPr>
          <p:sp>
            <p:nvSpPr>
              <p:cNvPr id="25" name="Threat detection">
                <a:extLst>
                  <a:ext uri="{FF2B5EF4-FFF2-40B4-BE49-F238E27FC236}">
                    <a16:creationId xmlns:a16="http://schemas.microsoft.com/office/drawing/2014/main" id="{F05C2033-E06D-4FFD-9956-CDA27D791FF4}"/>
                  </a:ext>
                </a:extLst>
              </p:cNvPr>
              <p:cNvSpPr/>
              <p:nvPr/>
            </p:nvSpPr>
            <p:spPr>
              <a:xfrm>
                <a:off x="921726" y="1597438"/>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699"/>
                      <a:pt x="42718" y="49340"/>
                      <a:pt x="40582" y="49340"/>
                    </a:cubicBezTo>
                    <a:close/>
                  </a:path>
                </a:pathLst>
              </a:custGeom>
              <a:solidFill>
                <a:srgbClr val="FFFFFF"/>
              </a:solidFill>
              <a:ln w="2129" cap="flat">
                <a:noFill/>
                <a:prstDash val="solid"/>
                <a:miter/>
              </a:ln>
            </p:spPr>
            <p:txBody>
              <a:bodyPr rtlCol="0" anchor="ctr"/>
              <a:lstStyle/>
              <a:p>
                <a:endParaRPr lang="en-US" sz="1800"/>
              </a:p>
            </p:txBody>
          </p:sp>
          <p:sp>
            <p:nvSpPr>
              <p:cNvPr id="26" name="Threat detection">
                <a:extLst>
                  <a:ext uri="{FF2B5EF4-FFF2-40B4-BE49-F238E27FC236}">
                    <a16:creationId xmlns:a16="http://schemas.microsoft.com/office/drawing/2014/main" id="{A232A345-88CE-4B29-AC16-BCAFB3E5585A}"/>
                  </a:ext>
                </a:extLst>
              </p:cNvPr>
              <p:cNvSpPr/>
              <p:nvPr/>
            </p:nvSpPr>
            <p:spPr>
              <a:xfrm>
                <a:off x="921726" y="1637807"/>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485"/>
                      <a:pt x="42718" y="49340"/>
                      <a:pt x="40582" y="49340"/>
                    </a:cubicBezTo>
                    <a:close/>
                  </a:path>
                </a:pathLst>
              </a:custGeom>
              <a:solidFill>
                <a:srgbClr val="FFFFFF"/>
              </a:solidFill>
              <a:ln w="2129" cap="flat">
                <a:noFill/>
                <a:prstDash val="solid"/>
                <a:miter/>
              </a:ln>
            </p:spPr>
            <p:txBody>
              <a:bodyPr rtlCol="0" anchor="ctr"/>
              <a:lstStyle/>
              <a:p>
                <a:endParaRPr lang="en-US" sz="1800"/>
              </a:p>
            </p:txBody>
          </p:sp>
        </p:grpSp>
        <p:sp>
          <p:nvSpPr>
            <p:cNvPr id="12" name="Threat detection">
              <a:extLst>
                <a:ext uri="{FF2B5EF4-FFF2-40B4-BE49-F238E27FC236}">
                  <a16:creationId xmlns:a16="http://schemas.microsoft.com/office/drawing/2014/main" id="{3ADAAD80-E6BC-4A8E-BB4D-882349BA239E}"/>
                </a:ext>
              </a:extLst>
            </p:cNvPr>
            <p:cNvSpPr/>
            <p:nvPr/>
          </p:nvSpPr>
          <p:spPr>
            <a:xfrm>
              <a:off x="898231" y="1190761"/>
              <a:ext cx="514347" cy="344949"/>
            </a:xfrm>
            <a:custGeom>
              <a:avLst/>
              <a:gdLst>
                <a:gd name="connsiteX0" fmla="*/ 64077 w 514347"/>
                <a:gd name="connsiteY0" fmla="*/ 344950 h 344949"/>
                <a:gd name="connsiteX1" fmla="*/ 0 w 514347"/>
                <a:gd name="connsiteY1" fmla="*/ 280872 h 344949"/>
                <a:gd name="connsiteX2" fmla="*/ 280872 w 514347"/>
                <a:gd name="connsiteY2" fmla="*/ 0 h 344949"/>
                <a:gd name="connsiteX3" fmla="*/ 500230 w 514347"/>
                <a:gd name="connsiteY3" fmla="*/ 105514 h 344949"/>
                <a:gd name="connsiteX4" fmla="*/ 490191 w 514347"/>
                <a:gd name="connsiteY4" fmla="*/ 195649 h 344949"/>
                <a:gd name="connsiteX5" fmla="*/ 400056 w 514347"/>
                <a:gd name="connsiteY5" fmla="*/ 185611 h 344949"/>
                <a:gd name="connsiteX6" fmla="*/ 280658 w 514347"/>
                <a:gd name="connsiteY6" fmla="*/ 128155 h 344949"/>
                <a:gd name="connsiteX7" fmla="*/ 127941 w 514347"/>
                <a:gd name="connsiteY7" fmla="*/ 280872 h 344949"/>
                <a:gd name="connsiteX8" fmla="*/ 64077 w 514347"/>
                <a:gd name="connsiteY8" fmla="*/ 344950 h 344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47" h="344949">
                  <a:moveTo>
                    <a:pt x="64077" y="344950"/>
                  </a:moveTo>
                  <a:cubicBezTo>
                    <a:pt x="28621" y="344950"/>
                    <a:pt x="0" y="316328"/>
                    <a:pt x="0" y="280872"/>
                  </a:cubicBezTo>
                  <a:cubicBezTo>
                    <a:pt x="0" y="126019"/>
                    <a:pt x="126019" y="0"/>
                    <a:pt x="280872" y="0"/>
                  </a:cubicBezTo>
                  <a:cubicBezTo>
                    <a:pt x="366736" y="0"/>
                    <a:pt x="446619" y="38446"/>
                    <a:pt x="500230" y="105514"/>
                  </a:cubicBezTo>
                  <a:cubicBezTo>
                    <a:pt x="522443" y="133067"/>
                    <a:pt x="517958" y="173436"/>
                    <a:pt x="490191" y="195649"/>
                  </a:cubicBezTo>
                  <a:cubicBezTo>
                    <a:pt x="462638" y="217863"/>
                    <a:pt x="422269" y="213378"/>
                    <a:pt x="400056" y="185611"/>
                  </a:cubicBezTo>
                  <a:cubicBezTo>
                    <a:pt x="370794" y="149087"/>
                    <a:pt x="327435" y="128155"/>
                    <a:pt x="280658" y="128155"/>
                  </a:cubicBezTo>
                  <a:cubicBezTo>
                    <a:pt x="196504" y="128155"/>
                    <a:pt x="127941" y="196717"/>
                    <a:pt x="127941" y="280872"/>
                  </a:cubicBezTo>
                  <a:cubicBezTo>
                    <a:pt x="128155" y="316328"/>
                    <a:pt x="99533" y="344950"/>
                    <a:pt x="64077" y="344950"/>
                  </a:cubicBezTo>
                  <a:close/>
                </a:path>
              </a:pathLst>
            </a:custGeom>
            <a:solidFill>
              <a:srgbClr val="FFFFFF"/>
            </a:solidFill>
            <a:ln w="2129" cap="flat">
              <a:noFill/>
              <a:prstDash val="solid"/>
              <a:miter/>
            </a:ln>
          </p:spPr>
          <p:txBody>
            <a:bodyPr rtlCol="0" anchor="ctr"/>
            <a:lstStyle/>
            <a:p>
              <a:endParaRPr lang="en-US" sz="1800"/>
            </a:p>
          </p:txBody>
        </p:sp>
        <p:grpSp>
          <p:nvGrpSpPr>
            <p:cNvPr id="13" name="Threat detection">
              <a:extLst>
                <a:ext uri="{FF2B5EF4-FFF2-40B4-BE49-F238E27FC236}">
                  <a16:creationId xmlns:a16="http://schemas.microsoft.com/office/drawing/2014/main" id="{CE9B7813-8C53-4C0A-BCD5-DF4AFD1C66CE}"/>
                </a:ext>
              </a:extLst>
            </p:cNvPr>
            <p:cNvGrpSpPr/>
            <p:nvPr/>
          </p:nvGrpSpPr>
          <p:grpSpPr>
            <a:xfrm>
              <a:off x="915318" y="1424643"/>
              <a:ext cx="966498" cy="623686"/>
              <a:chOff x="915318" y="1424643"/>
              <a:chExt cx="966498" cy="623686"/>
            </a:xfrm>
          </p:grpSpPr>
          <p:grpSp>
            <p:nvGrpSpPr>
              <p:cNvPr id="17" name="Threat detection">
                <a:extLst>
                  <a:ext uri="{FF2B5EF4-FFF2-40B4-BE49-F238E27FC236}">
                    <a16:creationId xmlns:a16="http://schemas.microsoft.com/office/drawing/2014/main" id="{A7F82673-DD12-4FD2-937C-46352BE22F28}"/>
                  </a:ext>
                </a:extLst>
              </p:cNvPr>
              <p:cNvGrpSpPr/>
              <p:nvPr/>
            </p:nvGrpSpPr>
            <p:grpSpPr>
              <a:xfrm>
                <a:off x="1753663" y="1920174"/>
                <a:ext cx="128154" cy="128154"/>
                <a:chOff x="1753663" y="1920174"/>
                <a:chExt cx="128154" cy="128154"/>
              </a:xfrm>
            </p:grpSpPr>
            <p:sp>
              <p:nvSpPr>
                <p:cNvPr id="23" name="Threat detection">
                  <a:extLst>
                    <a:ext uri="{FF2B5EF4-FFF2-40B4-BE49-F238E27FC236}">
                      <a16:creationId xmlns:a16="http://schemas.microsoft.com/office/drawing/2014/main" id="{169494FA-9E6E-4CCE-80D8-6887A139FD90}"/>
                    </a:ext>
                  </a:extLst>
                </p:cNvPr>
                <p:cNvSpPr/>
                <p:nvPr/>
              </p:nvSpPr>
              <p:spPr>
                <a:xfrm>
                  <a:off x="1753663"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320"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4" name="Threat detection">
                  <a:extLst>
                    <a:ext uri="{FF2B5EF4-FFF2-40B4-BE49-F238E27FC236}">
                      <a16:creationId xmlns:a16="http://schemas.microsoft.com/office/drawing/2014/main" id="{C25DD78F-CE7E-482D-9D89-38C310DD4D6D}"/>
                    </a:ext>
                  </a:extLst>
                </p:cNvPr>
                <p:cNvSpPr/>
                <p:nvPr/>
              </p:nvSpPr>
              <p:spPr>
                <a:xfrm>
                  <a:off x="1770750"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6" y="93980"/>
                        <a:pt x="0" y="72835"/>
                        <a:pt x="0" y="46990"/>
                      </a:cubicBezTo>
                      <a:cubicBezTo>
                        <a:pt x="0" y="21146"/>
                        <a:pt x="20932" y="0"/>
                        <a:pt x="46990" y="0"/>
                      </a:cubicBezTo>
                    </a:path>
                  </a:pathLst>
                </a:custGeom>
                <a:solidFill>
                  <a:srgbClr val="FFB900"/>
                </a:solidFill>
                <a:ln w="2129" cap="flat">
                  <a:noFill/>
                  <a:prstDash val="solid"/>
                  <a:miter/>
                </a:ln>
              </p:spPr>
              <p:txBody>
                <a:bodyPr rtlCol="0" anchor="ctr"/>
                <a:lstStyle/>
                <a:p>
                  <a:endParaRPr lang="en-US" sz="1800"/>
                </a:p>
              </p:txBody>
            </p:sp>
          </p:grpSp>
          <p:grpSp>
            <p:nvGrpSpPr>
              <p:cNvPr id="18" name="Threat detection">
                <a:extLst>
                  <a:ext uri="{FF2B5EF4-FFF2-40B4-BE49-F238E27FC236}">
                    <a16:creationId xmlns:a16="http://schemas.microsoft.com/office/drawing/2014/main" id="{CAF1A5A4-3393-4B2E-9194-0F0D4F584F04}"/>
                  </a:ext>
                </a:extLst>
              </p:cNvPr>
              <p:cNvGrpSpPr/>
              <p:nvPr/>
            </p:nvGrpSpPr>
            <p:grpSpPr>
              <a:xfrm>
                <a:off x="1239977" y="1920174"/>
                <a:ext cx="128154" cy="128154"/>
                <a:chOff x="1239977" y="1920174"/>
                <a:chExt cx="128154" cy="128154"/>
              </a:xfrm>
            </p:grpSpPr>
            <p:sp>
              <p:nvSpPr>
                <p:cNvPr id="21" name="Threat detection">
                  <a:extLst>
                    <a:ext uri="{FF2B5EF4-FFF2-40B4-BE49-F238E27FC236}">
                      <a16:creationId xmlns:a16="http://schemas.microsoft.com/office/drawing/2014/main" id="{C037C024-1851-44A2-B374-C99927D706BC}"/>
                    </a:ext>
                  </a:extLst>
                </p:cNvPr>
                <p:cNvSpPr/>
                <p:nvPr/>
              </p:nvSpPr>
              <p:spPr>
                <a:xfrm>
                  <a:off x="1239977"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533"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2" name="Threat detection">
                  <a:extLst>
                    <a:ext uri="{FF2B5EF4-FFF2-40B4-BE49-F238E27FC236}">
                      <a16:creationId xmlns:a16="http://schemas.microsoft.com/office/drawing/2014/main" id="{2758C907-F22D-48A5-8409-0ED9AFA8FCAB}"/>
                    </a:ext>
                  </a:extLst>
                </p:cNvPr>
                <p:cNvSpPr/>
                <p:nvPr/>
              </p:nvSpPr>
              <p:spPr>
                <a:xfrm>
                  <a:off x="1257064"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5" y="93980"/>
                        <a:pt x="0" y="72835"/>
                        <a:pt x="0" y="46990"/>
                      </a:cubicBezTo>
                      <a:cubicBezTo>
                        <a:pt x="0" y="21146"/>
                        <a:pt x="21145" y="0"/>
                        <a:pt x="46990" y="0"/>
                      </a:cubicBezTo>
                    </a:path>
                  </a:pathLst>
                </a:custGeom>
                <a:solidFill>
                  <a:srgbClr val="107C10"/>
                </a:solidFill>
                <a:ln w="2129" cap="flat">
                  <a:noFill/>
                  <a:prstDash val="solid"/>
                  <a:miter/>
                </a:ln>
              </p:spPr>
              <p:txBody>
                <a:bodyPr rtlCol="0" anchor="ctr"/>
                <a:lstStyle/>
                <a:p>
                  <a:endParaRPr lang="en-US" sz="1800"/>
                </a:p>
              </p:txBody>
            </p:sp>
          </p:grpSp>
          <p:sp>
            <p:nvSpPr>
              <p:cNvPr id="19" name="Threat detection">
                <a:extLst>
                  <a:ext uri="{FF2B5EF4-FFF2-40B4-BE49-F238E27FC236}">
                    <a16:creationId xmlns:a16="http://schemas.microsoft.com/office/drawing/2014/main" id="{AAB99EF9-7B92-4A4F-96EA-56A1B1A6D7DC}"/>
                  </a:ext>
                </a:extLst>
              </p:cNvPr>
              <p:cNvSpPr/>
              <p:nvPr/>
            </p:nvSpPr>
            <p:spPr>
              <a:xfrm>
                <a:off x="915318" y="1766175"/>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D83B01"/>
              </a:solidFill>
              <a:ln w="2129" cap="flat">
                <a:noFill/>
                <a:prstDash val="solid"/>
                <a:miter/>
              </a:ln>
            </p:spPr>
            <p:txBody>
              <a:bodyPr rtlCol="0" anchor="ctr"/>
              <a:lstStyle/>
              <a:p>
                <a:endParaRPr lang="en-US" sz="1800"/>
              </a:p>
            </p:txBody>
          </p:sp>
          <p:sp>
            <p:nvSpPr>
              <p:cNvPr id="20" name="Threat detection">
                <a:extLst>
                  <a:ext uri="{FF2B5EF4-FFF2-40B4-BE49-F238E27FC236}">
                    <a16:creationId xmlns:a16="http://schemas.microsoft.com/office/drawing/2014/main" id="{F80C183B-0442-4A3B-95BC-8A56750CAA3D}"/>
                  </a:ext>
                </a:extLst>
              </p:cNvPr>
              <p:cNvSpPr/>
              <p:nvPr/>
            </p:nvSpPr>
            <p:spPr>
              <a:xfrm>
                <a:off x="915318" y="1424643"/>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737373"/>
              </a:solidFill>
              <a:ln w="2129" cap="flat">
                <a:noFill/>
                <a:prstDash val="solid"/>
                <a:miter/>
              </a:ln>
            </p:spPr>
            <p:txBody>
              <a:bodyPr rtlCol="0" anchor="ctr"/>
              <a:lstStyle/>
              <a:p>
                <a:endParaRPr lang="en-US" sz="1800"/>
              </a:p>
            </p:txBody>
          </p:sp>
        </p:grpSp>
        <p:sp>
          <p:nvSpPr>
            <p:cNvPr id="14" name="Threat detection">
              <a:extLst>
                <a:ext uri="{FF2B5EF4-FFF2-40B4-BE49-F238E27FC236}">
                  <a16:creationId xmlns:a16="http://schemas.microsoft.com/office/drawing/2014/main" id="{7F0D195C-E35D-460D-98D5-CB21938BF103}"/>
                </a:ext>
              </a:extLst>
            </p:cNvPr>
            <p:cNvSpPr/>
            <p:nvPr/>
          </p:nvSpPr>
          <p:spPr>
            <a:xfrm>
              <a:off x="1409995"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5" name="Threat detection">
              <a:extLst>
                <a:ext uri="{FF2B5EF4-FFF2-40B4-BE49-F238E27FC236}">
                  <a16:creationId xmlns:a16="http://schemas.microsoft.com/office/drawing/2014/main" id="{CDFAC31C-2E8B-4EF5-AB79-4318E8870300}"/>
                </a:ext>
              </a:extLst>
            </p:cNvPr>
            <p:cNvSpPr/>
            <p:nvPr/>
          </p:nvSpPr>
          <p:spPr>
            <a:xfrm>
              <a:off x="1069104"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6" name="Threat detection">
              <a:extLst>
                <a:ext uri="{FF2B5EF4-FFF2-40B4-BE49-F238E27FC236}">
                  <a16:creationId xmlns:a16="http://schemas.microsoft.com/office/drawing/2014/main" id="{306FA00E-9827-435F-AE77-7CE361AEF92A}"/>
                </a:ext>
              </a:extLst>
            </p:cNvPr>
            <p:cNvSpPr/>
            <p:nvPr/>
          </p:nvSpPr>
          <p:spPr>
            <a:xfrm>
              <a:off x="1581722" y="1920174"/>
              <a:ext cx="128154" cy="128154"/>
            </a:xfrm>
            <a:custGeom>
              <a:avLst/>
              <a:gdLst>
                <a:gd name="connsiteX0" fmla="*/ 128154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4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4" y="64077"/>
                  </a:moveTo>
                  <a:cubicBezTo>
                    <a:pt x="128154" y="99466"/>
                    <a:pt x="99466" y="128155"/>
                    <a:pt x="64077" y="128155"/>
                  </a:cubicBezTo>
                  <a:cubicBezTo>
                    <a:pt x="28688" y="128155"/>
                    <a:pt x="0" y="99466"/>
                    <a:pt x="0" y="64077"/>
                  </a:cubicBezTo>
                  <a:cubicBezTo>
                    <a:pt x="0" y="28688"/>
                    <a:pt x="28688" y="0"/>
                    <a:pt x="64077" y="0"/>
                  </a:cubicBezTo>
                  <a:cubicBezTo>
                    <a:pt x="99466" y="0"/>
                    <a:pt x="128154" y="28688"/>
                    <a:pt x="128154" y="64077"/>
                  </a:cubicBezTo>
                  <a:close/>
                </a:path>
              </a:pathLst>
            </a:custGeom>
            <a:solidFill>
              <a:srgbClr val="FFFFFF"/>
            </a:solidFill>
            <a:ln w="2129" cap="flat">
              <a:noFill/>
              <a:prstDash val="solid"/>
              <a:miter/>
            </a:ln>
          </p:spPr>
          <p:txBody>
            <a:bodyPr rtlCol="0" anchor="ctr"/>
            <a:lstStyle/>
            <a:p>
              <a:endParaRPr lang="en-US" sz="1800"/>
            </a:p>
          </p:txBody>
        </p:sp>
      </p:grpSp>
      <p:sp>
        <p:nvSpPr>
          <p:cNvPr id="27" name="Rectangle 26">
            <a:extLst>
              <a:ext uri="{FF2B5EF4-FFF2-40B4-BE49-F238E27FC236}">
                <a16:creationId xmlns:a16="http://schemas.microsoft.com/office/drawing/2014/main" id="{667BA80C-6FEC-43CB-BA30-32C646895D0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44829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8" name="Rectangle 7">
            <a:extLst>
              <a:ext uri="{FF2B5EF4-FFF2-40B4-BE49-F238E27FC236}">
                <a16:creationId xmlns:a16="http://schemas.microsoft.com/office/drawing/2014/main" id="{6D8066F8-69FA-4F06-8ACB-D294208C6737}"/>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55333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
        <p:nvSpPr>
          <p:cNvPr id="6" name="Rectangle 5">
            <a:extLst>
              <a:ext uri="{FF2B5EF4-FFF2-40B4-BE49-F238E27FC236}">
                <a16:creationId xmlns:a16="http://schemas.microsoft.com/office/drawing/2014/main" id="{65223E32-1958-4157-9CB9-9451A1D387D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23120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430881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D343DAD-F987-4917-A1BF-590B2A8E4A2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0115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AD85BCBE-5E8A-43F9-9B4D-A08A0234A2D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41438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1617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Rectangle 6">
            <a:extLst>
              <a:ext uri="{FF2B5EF4-FFF2-40B4-BE49-F238E27FC236}">
                <a16:creationId xmlns:a16="http://schemas.microsoft.com/office/drawing/2014/main" id="{25CA80ED-BD54-47D6-AB2C-7D78B46EFA4A}"/>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69536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Rectangle 11">
            <a:extLst>
              <a:ext uri="{FF2B5EF4-FFF2-40B4-BE49-F238E27FC236}">
                <a16:creationId xmlns:a16="http://schemas.microsoft.com/office/drawing/2014/main" id="{A63DB2F6-1164-462E-ABBB-1413D086842F}"/>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98432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Rectangle 7">
            <a:extLst>
              <a:ext uri="{FF2B5EF4-FFF2-40B4-BE49-F238E27FC236}">
                <a16:creationId xmlns:a16="http://schemas.microsoft.com/office/drawing/2014/main" id="{7E1DDD49-E6AA-4091-BA77-B4708B4D8A96}"/>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06688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C34D2FD4-781B-4DBF-BDE2-B33EDEEAE38F}"/>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55161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06E57F7F-5F21-4B86-AA18-BC6DB298BB40}"/>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9285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A3B4FE4C-7C04-4225-8F08-F10F79124DEE}"/>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79734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6" name="Rectangle 5">
            <a:extLst>
              <a:ext uri="{FF2B5EF4-FFF2-40B4-BE49-F238E27FC236}">
                <a16:creationId xmlns:a16="http://schemas.microsoft.com/office/drawing/2014/main" id="{BA669B47-9049-489D-8705-03BC28E1A59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8600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381825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087488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777296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4471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5967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2036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146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8870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5663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31676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8772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4086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1359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2631032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35070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9463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15227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60633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98094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218005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30272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847663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26880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566103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891478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60310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86679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06119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36715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48976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26142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84245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9469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9655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01919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231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6178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87848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646649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557989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01668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7" name="Rectangle 6">
            <a:extLst>
              <a:ext uri="{FF2B5EF4-FFF2-40B4-BE49-F238E27FC236}">
                <a16:creationId xmlns:a16="http://schemas.microsoft.com/office/drawing/2014/main" id="{26DA047C-2E03-4828-AC23-73639AA5575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866902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7" name="Rectangle 6">
            <a:extLst>
              <a:ext uri="{FF2B5EF4-FFF2-40B4-BE49-F238E27FC236}">
                <a16:creationId xmlns:a16="http://schemas.microsoft.com/office/drawing/2014/main" id="{1A0CCCA2-D9EC-4D28-8F5E-6D904B19BFA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21599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4871431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5996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F3412D18-6045-4538-80DC-FACFA609648D}"/>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65772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
        <p:nvSpPr>
          <p:cNvPr id="7" name="Rectangle 6">
            <a:extLst>
              <a:ext uri="{FF2B5EF4-FFF2-40B4-BE49-F238E27FC236}">
                <a16:creationId xmlns:a16="http://schemas.microsoft.com/office/drawing/2014/main" id="{E74EB6F8-A9C7-44CD-9D9B-99AE262A672D}"/>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47153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B77902B3-3661-4DBA-8AB6-058F6B16AEEE}"/>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33011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0CD875CD-BD02-4A68-9932-26CB72FF6ED0}"/>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6668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8CD0715A-291C-4329-8F01-81DC99F47B83}"/>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67972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93BF9E25-FC43-48B6-8455-325193C5BCD9}"/>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414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E24BF76D-E507-47BB-BE2F-CF019E9FC639}"/>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78129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62CBD4FD-2680-4251-94F8-5A68F6AED701}"/>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6074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37FB58A-DE2D-4D56-900D-BCC0C3E09379}"/>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43304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3296050B-F008-4E86-921E-A32EF3354C7C}"/>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72910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28560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04D0E54-2C94-41E7-9BFE-B0C10ED35762}"/>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8820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9DC4D32B-4650-4C0B-B518-9E5518B2902F}"/>
              </a:ext>
            </a:extLst>
          </p:cNvPr>
          <p:cNvSpPr/>
          <p:nvPr userDrawn="1"/>
        </p:nvSpPr>
        <p:spPr bwMode="auto">
          <a:xfrm>
            <a:off x="445770" y="6275071"/>
            <a:ext cx="2697480" cy="294139"/>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43543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A016A22-CD12-4EFC-B847-A15F423A18AA}"/>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7005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1D169E8-AA8B-40F0-B063-7B756DD2B3BF}"/>
              </a:ext>
            </a:extLst>
          </p:cNvPr>
          <p:cNvSpPr/>
          <p:nvPr userDrawn="1"/>
        </p:nvSpPr>
        <p:spPr bwMode="auto">
          <a:xfrm>
            <a:off x="445770" y="6275071"/>
            <a:ext cx="2697480" cy="2941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47709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A26A3CB4-1671-4BB0-9126-855196791F38}"/>
              </a:ext>
            </a:extLst>
          </p:cNvPr>
          <p:cNvSpPr/>
          <p:nvPr userDrawn="1"/>
        </p:nvSpPr>
        <p:spPr bwMode="auto">
          <a:xfrm>
            <a:off x="445770" y="6275071"/>
            <a:ext cx="2697480" cy="29413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39789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552454C0-3DA9-453A-ADEB-52992320C6CD}"/>
              </a:ext>
            </a:extLst>
          </p:cNvPr>
          <p:cNvSpPr/>
          <p:nvPr userDrawn="1"/>
        </p:nvSpPr>
        <p:spPr bwMode="auto">
          <a:xfrm>
            <a:off x="445770" y="6275071"/>
            <a:ext cx="2697480" cy="294139"/>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225422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3"/>
            <a:ext cx="5024048" cy="4379659"/>
          </a:xfrm>
          <a:prstGeom prst="rect">
            <a:avLst/>
          </a:prstGeom>
        </p:spPr>
      </p:pic>
      <p:sp>
        <p:nvSpPr>
          <p:cNvPr id="7" name="Rectangle 6">
            <a:extLst>
              <a:ext uri="{FF2B5EF4-FFF2-40B4-BE49-F238E27FC236}">
                <a16:creationId xmlns:a16="http://schemas.microsoft.com/office/drawing/2014/main" id="{F04085EA-61AE-4D49-811B-263ED25D13AE}"/>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4409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
        <p:nvSpPr>
          <p:cNvPr id="5" name="Rectangle 4">
            <a:extLst>
              <a:ext uri="{FF2B5EF4-FFF2-40B4-BE49-F238E27FC236}">
                <a16:creationId xmlns:a16="http://schemas.microsoft.com/office/drawing/2014/main" id="{0CD8631A-C992-4E30-BEC8-A1B373C82A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8074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5"/>
            <a:ext cx="6921500" cy="2294285"/>
          </a:xfrm>
          <a:prstGeom prst="rect">
            <a:avLst/>
          </a:prstGeom>
        </p:spPr>
      </p:pic>
      <p:sp>
        <p:nvSpPr>
          <p:cNvPr id="5" name="Rectangle 4">
            <a:extLst>
              <a:ext uri="{FF2B5EF4-FFF2-40B4-BE49-F238E27FC236}">
                <a16:creationId xmlns:a16="http://schemas.microsoft.com/office/drawing/2014/main" id="{25DBBB16-1AD8-44CB-9C28-F1663FD5DF6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0850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500" y="-1"/>
            <a:ext cx="6921501" cy="6858001"/>
          </a:xfrm>
          <a:prstGeom prst="rect">
            <a:avLst/>
          </a:prstGeom>
        </p:spPr>
      </p:pic>
      <p:sp>
        <p:nvSpPr>
          <p:cNvPr id="5" name="Rectangle 4">
            <a:extLst>
              <a:ext uri="{FF2B5EF4-FFF2-40B4-BE49-F238E27FC236}">
                <a16:creationId xmlns:a16="http://schemas.microsoft.com/office/drawing/2014/main" id="{3A3EB518-CCCD-44BF-A6CF-BEC93335453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4983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69179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700"/>
            <a:ext cx="6245934" cy="4735013"/>
          </a:xfrm>
          <a:prstGeom prst="rect">
            <a:avLst/>
          </a:prstGeom>
        </p:spPr>
      </p:pic>
      <p:sp>
        <p:nvSpPr>
          <p:cNvPr id="5" name="Rectangle 4">
            <a:extLst>
              <a:ext uri="{FF2B5EF4-FFF2-40B4-BE49-F238E27FC236}">
                <a16:creationId xmlns:a16="http://schemas.microsoft.com/office/drawing/2014/main" id="{EA1F3F05-F8DF-403A-86A7-7C23888A2C7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6700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
        <p:nvSpPr>
          <p:cNvPr id="5" name="Rectangle 4">
            <a:extLst>
              <a:ext uri="{FF2B5EF4-FFF2-40B4-BE49-F238E27FC236}">
                <a16:creationId xmlns:a16="http://schemas.microsoft.com/office/drawing/2014/main" id="{377200BA-B594-4077-A868-9B5ED75805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80730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DE66EEB-13CC-4913-982C-C0CC03F2E5E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19777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6E3F6B-E0B3-4099-911C-5F1D2C920F85}"/>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55193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Rectangle 2">
            <a:extLst>
              <a:ext uri="{FF2B5EF4-FFF2-40B4-BE49-F238E27FC236}">
                <a16:creationId xmlns:a16="http://schemas.microsoft.com/office/drawing/2014/main" id="{DAEBC98B-8A43-41A2-9274-31DFDD434032}"/>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80738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7142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3" name="Rectangle 2">
            <a:extLst>
              <a:ext uri="{FF2B5EF4-FFF2-40B4-BE49-F238E27FC236}">
                <a16:creationId xmlns:a16="http://schemas.microsoft.com/office/drawing/2014/main" id="{0E780C73-45B6-45A1-B67A-4CFC0D3DB53A}"/>
              </a:ext>
            </a:extLst>
          </p:cNvPr>
          <p:cNvSpPr/>
          <p:nvPr userDrawn="1"/>
        </p:nvSpPr>
        <p:spPr bwMode="auto">
          <a:xfrm>
            <a:off x="387275" y="6269039"/>
            <a:ext cx="2796989"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308385"/>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769872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1839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1/29/2024</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222859244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021"/>
            <a:ext cx="11306469" cy="40395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2"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084571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28620160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80373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
        <p:nvSpPr>
          <p:cNvPr id="3" name="Rectangle 2">
            <a:extLst>
              <a:ext uri="{FF2B5EF4-FFF2-40B4-BE49-F238E27FC236}">
                <a16:creationId xmlns:a16="http://schemas.microsoft.com/office/drawing/2014/main" id="{D5B2A2D8-A45E-466C-B1BC-1A1998A00291}"/>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67627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6B64CD5-DF3A-4DA7-9433-28ED5330D93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38786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grpSp>
        <p:nvGrpSpPr>
          <p:cNvPr id="6" name="Threat detection">
            <a:extLst>
              <a:ext uri="{FF2B5EF4-FFF2-40B4-BE49-F238E27FC236}">
                <a16:creationId xmlns:a16="http://schemas.microsoft.com/office/drawing/2014/main" id="{3168A38A-4D25-4EB6-9233-64E858091C6D}"/>
              </a:ext>
            </a:extLst>
          </p:cNvPr>
          <p:cNvGrpSpPr/>
          <p:nvPr userDrawn="1"/>
        </p:nvGrpSpPr>
        <p:grpSpPr>
          <a:xfrm>
            <a:off x="7245617" y="2483271"/>
            <a:ext cx="4483929" cy="3909444"/>
            <a:chOff x="898231" y="1190761"/>
            <a:chExt cx="983586" cy="857568"/>
          </a:xfrm>
        </p:grpSpPr>
        <p:sp>
          <p:nvSpPr>
            <p:cNvPr id="8" name="Threat detection">
              <a:extLst>
                <a:ext uri="{FF2B5EF4-FFF2-40B4-BE49-F238E27FC236}">
                  <a16:creationId xmlns:a16="http://schemas.microsoft.com/office/drawing/2014/main" id="{9271BA66-3231-4C28-A16D-608B823B32D5}"/>
                </a:ext>
              </a:extLst>
            </p:cNvPr>
            <p:cNvSpPr/>
            <p:nvPr/>
          </p:nvSpPr>
          <p:spPr>
            <a:xfrm>
              <a:off x="898231" y="1749301"/>
              <a:ext cx="128154" cy="299027"/>
            </a:xfrm>
            <a:custGeom>
              <a:avLst/>
              <a:gdLst>
                <a:gd name="connsiteX0" fmla="*/ 64077 w 128154"/>
                <a:gd name="connsiteY0" fmla="*/ 299028 h 299027"/>
                <a:gd name="connsiteX1" fmla="*/ 0 w 128154"/>
                <a:gd name="connsiteY1" fmla="*/ 234950 h 299027"/>
                <a:gd name="connsiteX2" fmla="*/ 0 w 128154"/>
                <a:gd name="connsiteY2" fmla="*/ 64077 h 299027"/>
                <a:gd name="connsiteX3" fmla="*/ 64077 w 128154"/>
                <a:gd name="connsiteY3" fmla="*/ 0 h 299027"/>
                <a:gd name="connsiteX4" fmla="*/ 128155 w 128154"/>
                <a:gd name="connsiteY4" fmla="*/ 64077 h 299027"/>
                <a:gd name="connsiteX5" fmla="*/ 128155 w 128154"/>
                <a:gd name="connsiteY5" fmla="*/ 234950 h 299027"/>
                <a:gd name="connsiteX6" fmla="*/ 64077 w 128154"/>
                <a:gd name="connsiteY6" fmla="*/ 299028 h 29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4" h="299027">
                  <a:moveTo>
                    <a:pt x="64077" y="299028"/>
                  </a:moveTo>
                  <a:cubicBezTo>
                    <a:pt x="28621" y="299028"/>
                    <a:pt x="0" y="270406"/>
                    <a:pt x="0" y="234950"/>
                  </a:cubicBezTo>
                  <a:lnTo>
                    <a:pt x="0" y="64077"/>
                  </a:lnTo>
                  <a:cubicBezTo>
                    <a:pt x="0" y="28621"/>
                    <a:pt x="28621" y="0"/>
                    <a:pt x="64077" y="0"/>
                  </a:cubicBezTo>
                  <a:cubicBezTo>
                    <a:pt x="99533" y="0"/>
                    <a:pt x="128155" y="28621"/>
                    <a:pt x="128155" y="64077"/>
                  </a:cubicBezTo>
                  <a:lnTo>
                    <a:pt x="128155" y="234950"/>
                  </a:lnTo>
                  <a:cubicBezTo>
                    <a:pt x="128155" y="270406"/>
                    <a:pt x="99533" y="299028"/>
                    <a:pt x="64077" y="299028"/>
                  </a:cubicBezTo>
                  <a:close/>
                </a:path>
              </a:pathLst>
            </a:custGeom>
            <a:solidFill>
              <a:srgbClr val="FFFFFF"/>
            </a:solidFill>
            <a:ln w="2129" cap="flat">
              <a:noFill/>
              <a:prstDash val="solid"/>
              <a:miter/>
            </a:ln>
          </p:spPr>
          <p:txBody>
            <a:bodyPr rtlCol="0" anchor="ctr"/>
            <a:lstStyle/>
            <a:p>
              <a:endParaRPr lang="en-US" sz="1800"/>
            </a:p>
          </p:txBody>
        </p:sp>
        <p:grpSp>
          <p:nvGrpSpPr>
            <p:cNvPr id="11" name="Threat detection">
              <a:extLst>
                <a:ext uri="{FF2B5EF4-FFF2-40B4-BE49-F238E27FC236}">
                  <a16:creationId xmlns:a16="http://schemas.microsoft.com/office/drawing/2014/main" id="{6D71BEBF-785D-40F2-B703-D366BD4B0C4F}"/>
                </a:ext>
              </a:extLst>
            </p:cNvPr>
            <p:cNvGrpSpPr/>
            <p:nvPr/>
          </p:nvGrpSpPr>
          <p:grpSpPr>
            <a:xfrm>
              <a:off x="921726" y="1597438"/>
              <a:ext cx="81591" cy="89708"/>
              <a:chOff x="921726" y="1597438"/>
              <a:chExt cx="81591" cy="89708"/>
            </a:xfrm>
            <a:solidFill>
              <a:srgbClr val="FFFFFF"/>
            </a:solidFill>
          </p:grpSpPr>
          <p:sp>
            <p:nvSpPr>
              <p:cNvPr id="25" name="Threat detection">
                <a:extLst>
                  <a:ext uri="{FF2B5EF4-FFF2-40B4-BE49-F238E27FC236}">
                    <a16:creationId xmlns:a16="http://schemas.microsoft.com/office/drawing/2014/main" id="{F05C2033-E06D-4FFD-9956-CDA27D791FF4}"/>
                  </a:ext>
                </a:extLst>
              </p:cNvPr>
              <p:cNvSpPr/>
              <p:nvPr/>
            </p:nvSpPr>
            <p:spPr>
              <a:xfrm>
                <a:off x="921726" y="1597438"/>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699"/>
                      <a:pt x="42718" y="49340"/>
                      <a:pt x="40582" y="49340"/>
                    </a:cubicBezTo>
                    <a:close/>
                  </a:path>
                </a:pathLst>
              </a:custGeom>
              <a:solidFill>
                <a:srgbClr val="FFFFFF"/>
              </a:solidFill>
              <a:ln w="2129" cap="flat">
                <a:noFill/>
                <a:prstDash val="solid"/>
                <a:miter/>
              </a:ln>
            </p:spPr>
            <p:txBody>
              <a:bodyPr rtlCol="0" anchor="ctr"/>
              <a:lstStyle/>
              <a:p>
                <a:endParaRPr lang="en-US" sz="1800"/>
              </a:p>
            </p:txBody>
          </p:sp>
          <p:sp>
            <p:nvSpPr>
              <p:cNvPr id="26" name="Threat detection">
                <a:extLst>
                  <a:ext uri="{FF2B5EF4-FFF2-40B4-BE49-F238E27FC236}">
                    <a16:creationId xmlns:a16="http://schemas.microsoft.com/office/drawing/2014/main" id="{A232A345-88CE-4B29-AC16-BCAFB3E5585A}"/>
                  </a:ext>
                </a:extLst>
              </p:cNvPr>
              <p:cNvSpPr/>
              <p:nvPr/>
            </p:nvSpPr>
            <p:spPr>
              <a:xfrm>
                <a:off x="921726" y="1637807"/>
                <a:ext cx="81591" cy="49339"/>
              </a:xfrm>
              <a:custGeom>
                <a:avLst/>
                <a:gdLst>
                  <a:gd name="connsiteX0" fmla="*/ 40582 w 81591"/>
                  <a:gd name="connsiteY0" fmla="*/ 49340 h 49339"/>
                  <a:gd name="connsiteX1" fmla="*/ 34602 w 81591"/>
                  <a:gd name="connsiteY1" fmla="*/ 46776 h 49339"/>
                  <a:gd name="connsiteX2" fmla="*/ 2563 w 81591"/>
                  <a:gd name="connsiteY2" fmla="*/ 14738 h 49339"/>
                  <a:gd name="connsiteX3" fmla="*/ 2563 w 81591"/>
                  <a:gd name="connsiteY3" fmla="*/ 2563 h 49339"/>
                  <a:gd name="connsiteX4" fmla="*/ 14738 w 81591"/>
                  <a:gd name="connsiteY4" fmla="*/ 2563 h 49339"/>
                  <a:gd name="connsiteX5" fmla="*/ 40796 w 81591"/>
                  <a:gd name="connsiteY5" fmla="*/ 28621 h 49339"/>
                  <a:gd name="connsiteX6" fmla="*/ 66854 w 81591"/>
                  <a:gd name="connsiteY6" fmla="*/ 2563 h 49339"/>
                  <a:gd name="connsiteX7" fmla="*/ 79029 w 81591"/>
                  <a:gd name="connsiteY7" fmla="*/ 2563 h 49339"/>
                  <a:gd name="connsiteX8" fmla="*/ 79029 w 81591"/>
                  <a:gd name="connsiteY8" fmla="*/ 14738 h 49339"/>
                  <a:gd name="connsiteX9" fmla="*/ 46990 w 81591"/>
                  <a:gd name="connsiteY9" fmla="*/ 46776 h 49339"/>
                  <a:gd name="connsiteX10" fmla="*/ 40582 w 81591"/>
                  <a:gd name="connsiteY10" fmla="*/ 49340 h 4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91" h="49339">
                    <a:moveTo>
                      <a:pt x="40582" y="49340"/>
                    </a:moveTo>
                    <a:cubicBezTo>
                      <a:pt x="38446" y="49340"/>
                      <a:pt x="36310" y="48485"/>
                      <a:pt x="34602" y="46776"/>
                    </a:cubicBezTo>
                    <a:lnTo>
                      <a:pt x="2563" y="14738"/>
                    </a:lnTo>
                    <a:cubicBezTo>
                      <a:pt x="-854" y="11320"/>
                      <a:pt x="-854" y="5981"/>
                      <a:pt x="2563" y="2563"/>
                    </a:cubicBezTo>
                    <a:cubicBezTo>
                      <a:pt x="5981" y="-854"/>
                      <a:pt x="11320" y="-854"/>
                      <a:pt x="14738" y="2563"/>
                    </a:cubicBezTo>
                    <a:lnTo>
                      <a:pt x="40796" y="28621"/>
                    </a:lnTo>
                    <a:lnTo>
                      <a:pt x="66854" y="2563"/>
                    </a:lnTo>
                    <a:cubicBezTo>
                      <a:pt x="70271" y="-854"/>
                      <a:pt x="75611" y="-854"/>
                      <a:pt x="79029" y="2563"/>
                    </a:cubicBezTo>
                    <a:cubicBezTo>
                      <a:pt x="82446" y="5981"/>
                      <a:pt x="82446" y="11320"/>
                      <a:pt x="79029" y="14738"/>
                    </a:cubicBezTo>
                    <a:lnTo>
                      <a:pt x="46990" y="46776"/>
                    </a:lnTo>
                    <a:cubicBezTo>
                      <a:pt x="45068" y="48485"/>
                      <a:pt x="42718" y="49340"/>
                      <a:pt x="40582" y="49340"/>
                    </a:cubicBezTo>
                    <a:close/>
                  </a:path>
                </a:pathLst>
              </a:custGeom>
              <a:solidFill>
                <a:srgbClr val="FFFFFF"/>
              </a:solidFill>
              <a:ln w="2129" cap="flat">
                <a:noFill/>
                <a:prstDash val="solid"/>
                <a:miter/>
              </a:ln>
            </p:spPr>
            <p:txBody>
              <a:bodyPr rtlCol="0" anchor="ctr"/>
              <a:lstStyle/>
              <a:p>
                <a:endParaRPr lang="en-US" sz="1800"/>
              </a:p>
            </p:txBody>
          </p:sp>
        </p:grpSp>
        <p:sp>
          <p:nvSpPr>
            <p:cNvPr id="12" name="Threat detection">
              <a:extLst>
                <a:ext uri="{FF2B5EF4-FFF2-40B4-BE49-F238E27FC236}">
                  <a16:creationId xmlns:a16="http://schemas.microsoft.com/office/drawing/2014/main" id="{3ADAAD80-E6BC-4A8E-BB4D-882349BA239E}"/>
                </a:ext>
              </a:extLst>
            </p:cNvPr>
            <p:cNvSpPr/>
            <p:nvPr/>
          </p:nvSpPr>
          <p:spPr>
            <a:xfrm>
              <a:off x="898231" y="1190761"/>
              <a:ext cx="514347" cy="344949"/>
            </a:xfrm>
            <a:custGeom>
              <a:avLst/>
              <a:gdLst>
                <a:gd name="connsiteX0" fmla="*/ 64077 w 514347"/>
                <a:gd name="connsiteY0" fmla="*/ 344950 h 344949"/>
                <a:gd name="connsiteX1" fmla="*/ 0 w 514347"/>
                <a:gd name="connsiteY1" fmla="*/ 280872 h 344949"/>
                <a:gd name="connsiteX2" fmla="*/ 280872 w 514347"/>
                <a:gd name="connsiteY2" fmla="*/ 0 h 344949"/>
                <a:gd name="connsiteX3" fmla="*/ 500230 w 514347"/>
                <a:gd name="connsiteY3" fmla="*/ 105514 h 344949"/>
                <a:gd name="connsiteX4" fmla="*/ 490191 w 514347"/>
                <a:gd name="connsiteY4" fmla="*/ 195649 h 344949"/>
                <a:gd name="connsiteX5" fmla="*/ 400056 w 514347"/>
                <a:gd name="connsiteY5" fmla="*/ 185611 h 344949"/>
                <a:gd name="connsiteX6" fmla="*/ 280658 w 514347"/>
                <a:gd name="connsiteY6" fmla="*/ 128155 h 344949"/>
                <a:gd name="connsiteX7" fmla="*/ 127941 w 514347"/>
                <a:gd name="connsiteY7" fmla="*/ 280872 h 344949"/>
                <a:gd name="connsiteX8" fmla="*/ 64077 w 514347"/>
                <a:gd name="connsiteY8" fmla="*/ 344950 h 344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47" h="344949">
                  <a:moveTo>
                    <a:pt x="64077" y="344950"/>
                  </a:moveTo>
                  <a:cubicBezTo>
                    <a:pt x="28621" y="344950"/>
                    <a:pt x="0" y="316328"/>
                    <a:pt x="0" y="280872"/>
                  </a:cubicBezTo>
                  <a:cubicBezTo>
                    <a:pt x="0" y="126019"/>
                    <a:pt x="126019" y="0"/>
                    <a:pt x="280872" y="0"/>
                  </a:cubicBezTo>
                  <a:cubicBezTo>
                    <a:pt x="366736" y="0"/>
                    <a:pt x="446619" y="38446"/>
                    <a:pt x="500230" y="105514"/>
                  </a:cubicBezTo>
                  <a:cubicBezTo>
                    <a:pt x="522443" y="133067"/>
                    <a:pt x="517958" y="173436"/>
                    <a:pt x="490191" y="195649"/>
                  </a:cubicBezTo>
                  <a:cubicBezTo>
                    <a:pt x="462638" y="217863"/>
                    <a:pt x="422269" y="213378"/>
                    <a:pt x="400056" y="185611"/>
                  </a:cubicBezTo>
                  <a:cubicBezTo>
                    <a:pt x="370794" y="149087"/>
                    <a:pt x="327435" y="128155"/>
                    <a:pt x="280658" y="128155"/>
                  </a:cubicBezTo>
                  <a:cubicBezTo>
                    <a:pt x="196504" y="128155"/>
                    <a:pt x="127941" y="196717"/>
                    <a:pt x="127941" y="280872"/>
                  </a:cubicBezTo>
                  <a:cubicBezTo>
                    <a:pt x="128155" y="316328"/>
                    <a:pt x="99533" y="344950"/>
                    <a:pt x="64077" y="344950"/>
                  </a:cubicBezTo>
                  <a:close/>
                </a:path>
              </a:pathLst>
            </a:custGeom>
            <a:solidFill>
              <a:srgbClr val="FFFFFF"/>
            </a:solidFill>
            <a:ln w="2129" cap="flat">
              <a:noFill/>
              <a:prstDash val="solid"/>
              <a:miter/>
            </a:ln>
          </p:spPr>
          <p:txBody>
            <a:bodyPr rtlCol="0" anchor="ctr"/>
            <a:lstStyle/>
            <a:p>
              <a:endParaRPr lang="en-US" sz="1800"/>
            </a:p>
          </p:txBody>
        </p:sp>
        <p:grpSp>
          <p:nvGrpSpPr>
            <p:cNvPr id="13" name="Threat detection">
              <a:extLst>
                <a:ext uri="{FF2B5EF4-FFF2-40B4-BE49-F238E27FC236}">
                  <a16:creationId xmlns:a16="http://schemas.microsoft.com/office/drawing/2014/main" id="{CE9B7813-8C53-4C0A-BCD5-DF4AFD1C66CE}"/>
                </a:ext>
              </a:extLst>
            </p:cNvPr>
            <p:cNvGrpSpPr/>
            <p:nvPr/>
          </p:nvGrpSpPr>
          <p:grpSpPr>
            <a:xfrm>
              <a:off x="915318" y="1424643"/>
              <a:ext cx="966498" cy="623686"/>
              <a:chOff x="915318" y="1424643"/>
              <a:chExt cx="966498" cy="623686"/>
            </a:xfrm>
          </p:grpSpPr>
          <p:grpSp>
            <p:nvGrpSpPr>
              <p:cNvPr id="17" name="Threat detection">
                <a:extLst>
                  <a:ext uri="{FF2B5EF4-FFF2-40B4-BE49-F238E27FC236}">
                    <a16:creationId xmlns:a16="http://schemas.microsoft.com/office/drawing/2014/main" id="{A7F82673-DD12-4FD2-937C-46352BE22F28}"/>
                  </a:ext>
                </a:extLst>
              </p:cNvPr>
              <p:cNvGrpSpPr/>
              <p:nvPr/>
            </p:nvGrpSpPr>
            <p:grpSpPr>
              <a:xfrm>
                <a:off x="1753663" y="1920174"/>
                <a:ext cx="128154" cy="128154"/>
                <a:chOff x="1753663" y="1920174"/>
                <a:chExt cx="128154" cy="128154"/>
              </a:xfrm>
            </p:grpSpPr>
            <p:sp>
              <p:nvSpPr>
                <p:cNvPr id="23" name="Threat detection">
                  <a:extLst>
                    <a:ext uri="{FF2B5EF4-FFF2-40B4-BE49-F238E27FC236}">
                      <a16:creationId xmlns:a16="http://schemas.microsoft.com/office/drawing/2014/main" id="{169494FA-9E6E-4CCE-80D8-6887A139FD90}"/>
                    </a:ext>
                  </a:extLst>
                </p:cNvPr>
                <p:cNvSpPr/>
                <p:nvPr/>
              </p:nvSpPr>
              <p:spPr>
                <a:xfrm>
                  <a:off x="1753663"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320"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4" name="Threat detection">
                  <a:extLst>
                    <a:ext uri="{FF2B5EF4-FFF2-40B4-BE49-F238E27FC236}">
                      <a16:creationId xmlns:a16="http://schemas.microsoft.com/office/drawing/2014/main" id="{C25DD78F-CE7E-482D-9D89-38C310DD4D6D}"/>
                    </a:ext>
                  </a:extLst>
                </p:cNvPr>
                <p:cNvSpPr/>
                <p:nvPr/>
              </p:nvSpPr>
              <p:spPr>
                <a:xfrm>
                  <a:off x="1770750"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6" y="93980"/>
                        <a:pt x="0" y="72835"/>
                        <a:pt x="0" y="46990"/>
                      </a:cubicBezTo>
                      <a:cubicBezTo>
                        <a:pt x="0" y="21146"/>
                        <a:pt x="20932" y="0"/>
                        <a:pt x="46990" y="0"/>
                      </a:cubicBezTo>
                    </a:path>
                  </a:pathLst>
                </a:custGeom>
                <a:solidFill>
                  <a:srgbClr val="FFB900"/>
                </a:solidFill>
                <a:ln w="2129" cap="flat">
                  <a:noFill/>
                  <a:prstDash val="solid"/>
                  <a:miter/>
                </a:ln>
              </p:spPr>
              <p:txBody>
                <a:bodyPr rtlCol="0" anchor="ctr"/>
                <a:lstStyle/>
                <a:p>
                  <a:endParaRPr lang="en-US" sz="1800"/>
                </a:p>
              </p:txBody>
            </p:sp>
          </p:grpSp>
          <p:grpSp>
            <p:nvGrpSpPr>
              <p:cNvPr id="18" name="Threat detection">
                <a:extLst>
                  <a:ext uri="{FF2B5EF4-FFF2-40B4-BE49-F238E27FC236}">
                    <a16:creationId xmlns:a16="http://schemas.microsoft.com/office/drawing/2014/main" id="{CAF1A5A4-3393-4B2E-9194-0F0D4F584F04}"/>
                  </a:ext>
                </a:extLst>
              </p:cNvPr>
              <p:cNvGrpSpPr/>
              <p:nvPr/>
            </p:nvGrpSpPr>
            <p:grpSpPr>
              <a:xfrm>
                <a:off x="1239977" y="1920174"/>
                <a:ext cx="128154" cy="128154"/>
                <a:chOff x="1239977" y="1920174"/>
                <a:chExt cx="128154" cy="128154"/>
              </a:xfrm>
            </p:grpSpPr>
            <p:sp>
              <p:nvSpPr>
                <p:cNvPr id="21" name="Threat detection">
                  <a:extLst>
                    <a:ext uri="{FF2B5EF4-FFF2-40B4-BE49-F238E27FC236}">
                      <a16:creationId xmlns:a16="http://schemas.microsoft.com/office/drawing/2014/main" id="{C037C024-1851-44A2-B374-C99927D706BC}"/>
                    </a:ext>
                  </a:extLst>
                </p:cNvPr>
                <p:cNvSpPr/>
                <p:nvPr/>
              </p:nvSpPr>
              <p:spPr>
                <a:xfrm>
                  <a:off x="1239977" y="1920174"/>
                  <a:ext cx="128154" cy="128154"/>
                </a:xfrm>
                <a:custGeom>
                  <a:avLst/>
                  <a:gdLst>
                    <a:gd name="connsiteX0" fmla="*/ 64077 w 128154"/>
                    <a:gd name="connsiteY0" fmla="*/ 0 h 128154"/>
                    <a:gd name="connsiteX1" fmla="*/ 0 w 128154"/>
                    <a:gd name="connsiteY1" fmla="*/ 64077 h 128154"/>
                    <a:gd name="connsiteX2" fmla="*/ 64077 w 128154"/>
                    <a:gd name="connsiteY2" fmla="*/ 128155 h 128154"/>
                    <a:gd name="connsiteX3" fmla="*/ 128155 w 128154"/>
                    <a:gd name="connsiteY3" fmla="*/ 64077 h 128154"/>
                    <a:gd name="connsiteX4" fmla="*/ 64077 w 128154"/>
                    <a:gd name="connsiteY4" fmla="*/ 0 h 128154"/>
                    <a:gd name="connsiteX5" fmla="*/ 64077 w 128154"/>
                    <a:gd name="connsiteY5" fmla="*/ 0 h 12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54" h="128154">
                      <a:moveTo>
                        <a:pt x="64077" y="0"/>
                      </a:moveTo>
                      <a:cubicBezTo>
                        <a:pt x="28621" y="0"/>
                        <a:pt x="0" y="28621"/>
                        <a:pt x="0" y="64077"/>
                      </a:cubicBezTo>
                      <a:cubicBezTo>
                        <a:pt x="0" y="99533"/>
                        <a:pt x="28621" y="128155"/>
                        <a:pt x="64077" y="128155"/>
                      </a:cubicBezTo>
                      <a:cubicBezTo>
                        <a:pt x="99533" y="128155"/>
                        <a:pt x="128155" y="99533"/>
                        <a:pt x="128155" y="64077"/>
                      </a:cubicBezTo>
                      <a:cubicBezTo>
                        <a:pt x="128155" y="28621"/>
                        <a:pt x="99533" y="0"/>
                        <a:pt x="64077" y="0"/>
                      </a:cubicBezTo>
                      <a:lnTo>
                        <a:pt x="64077" y="0"/>
                      </a:lnTo>
                      <a:close/>
                    </a:path>
                  </a:pathLst>
                </a:custGeom>
                <a:solidFill>
                  <a:srgbClr val="FFFFFF"/>
                </a:solidFill>
                <a:ln w="2129" cap="flat">
                  <a:noFill/>
                  <a:prstDash val="solid"/>
                  <a:miter/>
                </a:ln>
              </p:spPr>
              <p:txBody>
                <a:bodyPr rtlCol="0" anchor="ctr"/>
                <a:lstStyle/>
                <a:p>
                  <a:endParaRPr lang="en-US" sz="1800"/>
                </a:p>
              </p:txBody>
            </p:sp>
            <p:sp>
              <p:nvSpPr>
                <p:cNvPr id="22" name="Threat detection">
                  <a:extLst>
                    <a:ext uri="{FF2B5EF4-FFF2-40B4-BE49-F238E27FC236}">
                      <a16:creationId xmlns:a16="http://schemas.microsoft.com/office/drawing/2014/main" id="{2758C907-F22D-48A5-8409-0ED9AFA8FCAB}"/>
                    </a:ext>
                  </a:extLst>
                </p:cNvPr>
                <p:cNvSpPr/>
                <p:nvPr/>
              </p:nvSpPr>
              <p:spPr>
                <a:xfrm>
                  <a:off x="1257064" y="1937262"/>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5" y="0"/>
                        <a:pt x="93980" y="21146"/>
                        <a:pt x="93980" y="46990"/>
                      </a:cubicBezTo>
                      <a:cubicBezTo>
                        <a:pt x="93980" y="72835"/>
                        <a:pt x="72835" y="93980"/>
                        <a:pt x="46990" y="93980"/>
                      </a:cubicBezTo>
                      <a:cubicBezTo>
                        <a:pt x="21145" y="93980"/>
                        <a:pt x="0" y="72835"/>
                        <a:pt x="0" y="46990"/>
                      </a:cubicBezTo>
                      <a:cubicBezTo>
                        <a:pt x="0" y="21146"/>
                        <a:pt x="21145" y="0"/>
                        <a:pt x="46990" y="0"/>
                      </a:cubicBezTo>
                    </a:path>
                  </a:pathLst>
                </a:custGeom>
                <a:solidFill>
                  <a:srgbClr val="107C10"/>
                </a:solidFill>
                <a:ln w="2129" cap="flat">
                  <a:noFill/>
                  <a:prstDash val="solid"/>
                  <a:miter/>
                </a:ln>
              </p:spPr>
              <p:txBody>
                <a:bodyPr rtlCol="0" anchor="ctr"/>
                <a:lstStyle/>
                <a:p>
                  <a:endParaRPr lang="en-US" sz="1800"/>
                </a:p>
              </p:txBody>
            </p:sp>
          </p:grpSp>
          <p:sp>
            <p:nvSpPr>
              <p:cNvPr id="19" name="Threat detection">
                <a:extLst>
                  <a:ext uri="{FF2B5EF4-FFF2-40B4-BE49-F238E27FC236}">
                    <a16:creationId xmlns:a16="http://schemas.microsoft.com/office/drawing/2014/main" id="{AAB99EF9-7B92-4A4F-96EA-56A1B1A6D7DC}"/>
                  </a:ext>
                </a:extLst>
              </p:cNvPr>
              <p:cNvSpPr/>
              <p:nvPr/>
            </p:nvSpPr>
            <p:spPr>
              <a:xfrm>
                <a:off x="915318" y="1766175"/>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D83B01"/>
              </a:solidFill>
              <a:ln w="2129" cap="flat">
                <a:noFill/>
                <a:prstDash val="solid"/>
                <a:miter/>
              </a:ln>
            </p:spPr>
            <p:txBody>
              <a:bodyPr rtlCol="0" anchor="ctr"/>
              <a:lstStyle/>
              <a:p>
                <a:endParaRPr lang="en-US" sz="1800"/>
              </a:p>
            </p:txBody>
          </p:sp>
          <p:sp>
            <p:nvSpPr>
              <p:cNvPr id="20" name="Threat detection">
                <a:extLst>
                  <a:ext uri="{FF2B5EF4-FFF2-40B4-BE49-F238E27FC236}">
                    <a16:creationId xmlns:a16="http://schemas.microsoft.com/office/drawing/2014/main" id="{F80C183B-0442-4A3B-95BC-8A56750CAA3D}"/>
                  </a:ext>
                </a:extLst>
              </p:cNvPr>
              <p:cNvSpPr/>
              <p:nvPr/>
            </p:nvSpPr>
            <p:spPr>
              <a:xfrm>
                <a:off x="915318" y="1424643"/>
                <a:ext cx="93980" cy="93980"/>
              </a:xfrm>
              <a:custGeom>
                <a:avLst/>
                <a:gdLst>
                  <a:gd name="connsiteX0" fmla="*/ 46990 w 93980"/>
                  <a:gd name="connsiteY0" fmla="*/ 0 h 93980"/>
                  <a:gd name="connsiteX1" fmla="*/ 93980 w 93980"/>
                  <a:gd name="connsiteY1" fmla="*/ 46990 h 93980"/>
                  <a:gd name="connsiteX2" fmla="*/ 46990 w 93980"/>
                  <a:gd name="connsiteY2" fmla="*/ 93980 h 93980"/>
                  <a:gd name="connsiteX3" fmla="*/ 0 w 93980"/>
                  <a:gd name="connsiteY3" fmla="*/ 46990 h 93980"/>
                  <a:gd name="connsiteX4" fmla="*/ 46990 w 93980"/>
                  <a:gd name="connsiteY4" fmla="*/ 0 h 93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980" h="93980">
                    <a:moveTo>
                      <a:pt x="46990" y="0"/>
                    </a:moveTo>
                    <a:cubicBezTo>
                      <a:pt x="72834" y="0"/>
                      <a:pt x="93980" y="21146"/>
                      <a:pt x="93980" y="46990"/>
                    </a:cubicBezTo>
                    <a:cubicBezTo>
                      <a:pt x="93980" y="72835"/>
                      <a:pt x="72834" y="93980"/>
                      <a:pt x="46990" y="93980"/>
                    </a:cubicBezTo>
                    <a:cubicBezTo>
                      <a:pt x="21145" y="93980"/>
                      <a:pt x="0" y="72835"/>
                      <a:pt x="0" y="46990"/>
                    </a:cubicBezTo>
                    <a:cubicBezTo>
                      <a:pt x="0" y="21146"/>
                      <a:pt x="21145" y="0"/>
                      <a:pt x="46990" y="0"/>
                    </a:cubicBezTo>
                  </a:path>
                </a:pathLst>
              </a:custGeom>
              <a:solidFill>
                <a:srgbClr val="737373"/>
              </a:solidFill>
              <a:ln w="2129" cap="flat">
                <a:noFill/>
                <a:prstDash val="solid"/>
                <a:miter/>
              </a:ln>
            </p:spPr>
            <p:txBody>
              <a:bodyPr rtlCol="0" anchor="ctr"/>
              <a:lstStyle/>
              <a:p>
                <a:endParaRPr lang="en-US" sz="1800"/>
              </a:p>
            </p:txBody>
          </p:sp>
        </p:grpSp>
        <p:sp>
          <p:nvSpPr>
            <p:cNvPr id="14" name="Threat detection">
              <a:extLst>
                <a:ext uri="{FF2B5EF4-FFF2-40B4-BE49-F238E27FC236}">
                  <a16:creationId xmlns:a16="http://schemas.microsoft.com/office/drawing/2014/main" id="{7F0D195C-E35D-460D-98D5-CB21938BF103}"/>
                </a:ext>
              </a:extLst>
            </p:cNvPr>
            <p:cNvSpPr/>
            <p:nvPr/>
          </p:nvSpPr>
          <p:spPr>
            <a:xfrm>
              <a:off x="1409995"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5" name="Threat detection">
              <a:extLst>
                <a:ext uri="{FF2B5EF4-FFF2-40B4-BE49-F238E27FC236}">
                  <a16:creationId xmlns:a16="http://schemas.microsoft.com/office/drawing/2014/main" id="{CDFAC31C-2E8B-4EF5-AB79-4318E8870300}"/>
                </a:ext>
              </a:extLst>
            </p:cNvPr>
            <p:cNvSpPr/>
            <p:nvPr/>
          </p:nvSpPr>
          <p:spPr>
            <a:xfrm>
              <a:off x="1069104" y="1920174"/>
              <a:ext cx="128154" cy="128154"/>
            </a:xfrm>
            <a:custGeom>
              <a:avLst/>
              <a:gdLst>
                <a:gd name="connsiteX0" fmla="*/ 128155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5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5" y="64077"/>
                  </a:moveTo>
                  <a:cubicBezTo>
                    <a:pt x="128155" y="99466"/>
                    <a:pt x="99466" y="128155"/>
                    <a:pt x="64077" y="128155"/>
                  </a:cubicBezTo>
                  <a:cubicBezTo>
                    <a:pt x="28688" y="128155"/>
                    <a:pt x="0" y="99466"/>
                    <a:pt x="0" y="64077"/>
                  </a:cubicBezTo>
                  <a:cubicBezTo>
                    <a:pt x="0" y="28688"/>
                    <a:pt x="28688" y="0"/>
                    <a:pt x="64077" y="0"/>
                  </a:cubicBezTo>
                  <a:cubicBezTo>
                    <a:pt x="99466" y="0"/>
                    <a:pt x="128155" y="28688"/>
                    <a:pt x="128155" y="64077"/>
                  </a:cubicBezTo>
                  <a:close/>
                </a:path>
              </a:pathLst>
            </a:custGeom>
            <a:solidFill>
              <a:srgbClr val="FFFFFF"/>
            </a:solidFill>
            <a:ln w="2129" cap="flat">
              <a:noFill/>
              <a:prstDash val="solid"/>
              <a:miter/>
            </a:ln>
          </p:spPr>
          <p:txBody>
            <a:bodyPr rtlCol="0" anchor="ctr"/>
            <a:lstStyle/>
            <a:p>
              <a:endParaRPr lang="en-US" sz="1800"/>
            </a:p>
          </p:txBody>
        </p:sp>
        <p:sp>
          <p:nvSpPr>
            <p:cNvPr id="16" name="Threat detection">
              <a:extLst>
                <a:ext uri="{FF2B5EF4-FFF2-40B4-BE49-F238E27FC236}">
                  <a16:creationId xmlns:a16="http://schemas.microsoft.com/office/drawing/2014/main" id="{306FA00E-9827-435F-AE77-7CE361AEF92A}"/>
                </a:ext>
              </a:extLst>
            </p:cNvPr>
            <p:cNvSpPr/>
            <p:nvPr/>
          </p:nvSpPr>
          <p:spPr>
            <a:xfrm>
              <a:off x="1581722" y="1920174"/>
              <a:ext cx="128154" cy="128154"/>
            </a:xfrm>
            <a:custGeom>
              <a:avLst/>
              <a:gdLst>
                <a:gd name="connsiteX0" fmla="*/ 128154 w 128154"/>
                <a:gd name="connsiteY0" fmla="*/ 64077 h 128154"/>
                <a:gd name="connsiteX1" fmla="*/ 64077 w 128154"/>
                <a:gd name="connsiteY1" fmla="*/ 128155 h 128154"/>
                <a:gd name="connsiteX2" fmla="*/ 0 w 128154"/>
                <a:gd name="connsiteY2" fmla="*/ 64077 h 128154"/>
                <a:gd name="connsiteX3" fmla="*/ 64077 w 128154"/>
                <a:gd name="connsiteY3" fmla="*/ 0 h 128154"/>
                <a:gd name="connsiteX4" fmla="*/ 128154 w 128154"/>
                <a:gd name="connsiteY4" fmla="*/ 64077 h 12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54" h="128154">
                  <a:moveTo>
                    <a:pt x="128154" y="64077"/>
                  </a:moveTo>
                  <a:cubicBezTo>
                    <a:pt x="128154" y="99466"/>
                    <a:pt x="99466" y="128155"/>
                    <a:pt x="64077" y="128155"/>
                  </a:cubicBezTo>
                  <a:cubicBezTo>
                    <a:pt x="28688" y="128155"/>
                    <a:pt x="0" y="99466"/>
                    <a:pt x="0" y="64077"/>
                  </a:cubicBezTo>
                  <a:cubicBezTo>
                    <a:pt x="0" y="28688"/>
                    <a:pt x="28688" y="0"/>
                    <a:pt x="64077" y="0"/>
                  </a:cubicBezTo>
                  <a:cubicBezTo>
                    <a:pt x="99466" y="0"/>
                    <a:pt x="128154" y="28688"/>
                    <a:pt x="128154" y="64077"/>
                  </a:cubicBezTo>
                  <a:close/>
                </a:path>
              </a:pathLst>
            </a:custGeom>
            <a:solidFill>
              <a:srgbClr val="FFFFFF"/>
            </a:solidFill>
            <a:ln w="2129" cap="flat">
              <a:noFill/>
              <a:prstDash val="solid"/>
              <a:miter/>
            </a:ln>
          </p:spPr>
          <p:txBody>
            <a:bodyPr rtlCol="0" anchor="ctr"/>
            <a:lstStyle/>
            <a:p>
              <a:endParaRPr lang="en-US" sz="1800"/>
            </a:p>
          </p:txBody>
        </p:sp>
      </p:grpSp>
      <p:sp>
        <p:nvSpPr>
          <p:cNvPr id="27" name="Rectangle 26">
            <a:extLst>
              <a:ext uri="{FF2B5EF4-FFF2-40B4-BE49-F238E27FC236}">
                <a16:creationId xmlns:a16="http://schemas.microsoft.com/office/drawing/2014/main" id="{667BA80C-6FEC-43CB-BA30-32C646895D0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5231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8" name="Rectangle 7">
            <a:extLst>
              <a:ext uri="{FF2B5EF4-FFF2-40B4-BE49-F238E27FC236}">
                <a16:creationId xmlns:a16="http://schemas.microsoft.com/office/drawing/2014/main" id="{6D8066F8-69FA-4F06-8ACB-D294208C6737}"/>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082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
        <p:nvSpPr>
          <p:cNvPr id="6" name="Rectangle 5">
            <a:extLst>
              <a:ext uri="{FF2B5EF4-FFF2-40B4-BE49-F238E27FC236}">
                <a16:creationId xmlns:a16="http://schemas.microsoft.com/office/drawing/2014/main" id="{65223E32-1958-4157-9CB9-9451A1D387D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41209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1" y="0"/>
            <a:ext cx="4787900" cy="6858000"/>
          </a:xfrm>
          <a:prstGeom prst="rect">
            <a:avLst/>
          </a:prstGeom>
        </p:spPr>
      </p:pic>
      <p:sp>
        <p:nvSpPr>
          <p:cNvPr id="6" name="Rectangle 5">
            <a:extLst>
              <a:ext uri="{FF2B5EF4-FFF2-40B4-BE49-F238E27FC236}">
                <a16:creationId xmlns:a16="http://schemas.microsoft.com/office/drawing/2014/main" id="{3D343DAD-F987-4917-A1BF-590B2A8E4A2D}"/>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2806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AD85BCBE-5E8A-43F9-9B4D-A08A0234A2D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48340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466846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5" y="585790"/>
            <a:ext cx="2308795" cy="294139"/>
          </a:xfrm>
          <a:prstGeom prst="rect">
            <a:avLst/>
          </a:prstGeom>
        </p:spPr>
      </p:pic>
      <p:sp>
        <p:nvSpPr>
          <p:cNvPr id="8" name="Rectangle 7">
            <a:extLst>
              <a:ext uri="{FF2B5EF4-FFF2-40B4-BE49-F238E27FC236}">
                <a16:creationId xmlns:a16="http://schemas.microsoft.com/office/drawing/2014/main" id="{63915D71-7AB8-4DF9-8D9A-91A227CED9D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Graphic 30">
            <a:extLst>
              <a:ext uri="{FF2B5EF4-FFF2-40B4-BE49-F238E27FC236}">
                <a16:creationId xmlns:a16="http://schemas.microsoft.com/office/drawing/2014/main" id="{93B23F20-9A54-B63C-586D-900F0B5B2262}"/>
              </a:ext>
            </a:extLst>
          </p:cNvPr>
          <p:cNvSpPr/>
          <p:nvPr userDrawn="1"/>
        </p:nvSpPr>
        <p:spPr>
          <a:xfrm>
            <a:off x="5371507" y="0"/>
            <a:ext cx="6820493" cy="6858000"/>
          </a:xfrm>
          <a:custGeom>
            <a:avLst/>
            <a:gdLst>
              <a:gd name="connsiteX0" fmla="*/ 2179846 w 3014967"/>
              <a:gd name="connsiteY0" fmla="*/ 1850961 h 3030682"/>
              <a:gd name="connsiteX1" fmla="*/ 1190946 w 3014967"/>
              <a:gd name="connsiteY1" fmla="*/ 3030682 h 3030682"/>
              <a:gd name="connsiteX2" fmla="*/ 26939 w 3014967"/>
              <a:gd name="connsiteY2" fmla="*/ 3030682 h 3030682"/>
              <a:gd name="connsiteX3" fmla="*/ 63981 w 3014967"/>
              <a:gd name="connsiteY3" fmla="*/ 2981854 h 3030682"/>
              <a:gd name="connsiteX4" fmla="*/ 1281866 w 3014967"/>
              <a:gd name="connsiteY4" fmla="*/ 1515341 h 3030682"/>
              <a:gd name="connsiteX5" fmla="*/ 45460 w 3014967"/>
              <a:gd name="connsiteY5" fmla="*/ 60614 h 3030682"/>
              <a:gd name="connsiteX6" fmla="*/ 0 w 3014967"/>
              <a:gd name="connsiteY6" fmla="*/ 0 h 3030682"/>
              <a:gd name="connsiteX7" fmla="*/ 1172425 w 3014967"/>
              <a:gd name="connsiteY7" fmla="*/ 0 h 3030682"/>
              <a:gd name="connsiteX8" fmla="*/ 2177040 w 3014967"/>
              <a:gd name="connsiteY8" fmla="*/ 1171864 h 3030682"/>
              <a:gd name="connsiteX9" fmla="*/ 2302196 w 3014967"/>
              <a:gd name="connsiteY9" fmla="*/ 1510851 h 3030682"/>
              <a:gd name="connsiteX10" fmla="*/ 2179846 w 3014967"/>
              <a:gd name="connsiteY10" fmla="*/ 1850961 h 3030682"/>
              <a:gd name="connsiteX11" fmla="*/ 2477863 w 3014967"/>
              <a:gd name="connsiteY11" fmla="*/ 0 h 3030682"/>
              <a:gd name="connsiteX12" fmla="*/ 1303755 w 3014967"/>
              <a:gd name="connsiteY12" fmla="*/ 0 h 3030682"/>
              <a:gd name="connsiteX13" fmla="*/ 1343041 w 3014967"/>
              <a:gd name="connsiteY13" fmla="*/ 51634 h 3030682"/>
              <a:gd name="connsiteX14" fmla="*/ 2579447 w 3014967"/>
              <a:gd name="connsiteY14" fmla="*/ 1506361 h 3030682"/>
              <a:gd name="connsiteX15" fmla="*/ 1361562 w 3014967"/>
              <a:gd name="connsiteY15" fmla="*/ 2972875 h 3030682"/>
              <a:gd name="connsiteX16" fmla="*/ 1318347 w 3014967"/>
              <a:gd name="connsiteY16" fmla="*/ 3030682 h 3030682"/>
              <a:gd name="connsiteX17" fmla="*/ 2480669 w 3014967"/>
              <a:gd name="connsiteY17" fmla="*/ 3030682 h 3030682"/>
              <a:gd name="connsiteX18" fmla="*/ 3014967 w 3014967"/>
              <a:gd name="connsiteY18" fmla="*/ 2393678 h 3030682"/>
              <a:gd name="connsiteX19" fmla="*/ 3014967 w 3014967"/>
              <a:gd name="connsiteY19" fmla="*/ 626341 h 3030682"/>
              <a:gd name="connsiteX20" fmla="*/ 2477863 w 3014967"/>
              <a:gd name="connsiteY20" fmla="*/ 0 h 303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14967" h="3030682">
                <a:moveTo>
                  <a:pt x="2179846" y="1850961"/>
                </a:moveTo>
                <a:lnTo>
                  <a:pt x="1190946" y="3030682"/>
                </a:lnTo>
                <a:lnTo>
                  <a:pt x="26939" y="3030682"/>
                </a:lnTo>
                <a:cubicBezTo>
                  <a:pt x="38164" y="3013845"/>
                  <a:pt x="50511" y="2997569"/>
                  <a:pt x="63981" y="2981854"/>
                </a:cubicBezTo>
                <a:lnTo>
                  <a:pt x="1281866" y="1515341"/>
                </a:lnTo>
                <a:lnTo>
                  <a:pt x="45460" y="60614"/>
                </a:lnTo>
                <a:cubicBezTo>
                  <a:pt x="28623" y="41532"/>
                  <a:pt x="13470" y="21327"/>
                  <a:pt x="0" y="0"/>
                </a:cubicBezTo>
                <a:lnTo>
                  <a:pt x="1172425" y="0"/>
                </a:lnTo>
                <a:lnTo>
                  <a:pt x="2177040" y="1171864"/>
                </a:lnTo>
                <a:cubicBezTo>
                  <a:pt x="2260103" y="1265029"/>
                  <a:pt x="2301635" y="1387940"/>
                  <a:pt x="2302196" y="1510851"/>
                </a:cubicBezTo>
                <a:cubicBezTo>
                  <a:pt x="2302757" y="1633762"/>
                  <a:pt x="2261787" y="1756673"/>
                  <a:pt x="2179846" y="1850961"/>
                </a:cubicBezTo>
                <a:close/>
                <a:moveTo>
                  <a:pt x="2477863" y="0"/>
                </a:moveTo>
                <a:lnTo>
                  <a:pt x="1303755" y="0"/>
                </a:lnTo>
                <a:cubicBezTo>
                  <a:pt x="1315541" y="17960"/>
                  <a:pt x="1329010" y="35358"/>
                  <a:pt x="1343041" y="51634"/>
                </a:cubicBezTo>
                <a:lnTo>
                  <a:pt x="2579447" y="1506361"/>
                </a:lnTo>
                <a:lnTo>
                  <a:pt x="1361562" y="2972875"/>
                </a:lnTo>
                <a:cubicBezTo>
                  <a:pt x="1345847" y="2991396"/>
                  <a:pt x="1331255" y="3010478"/>
                  <a:pt x="1318347" y="3030682"/>
                </a:cubicBezTo>
                <a:lnTo>
                  <a:pt x="2480669" y="3030682"/>
                </a:lnTo>
                <a:lnTo>
                  <a:pt x="3014967" y="2393678"/>
                </a:lnTo>
                <a:lnTo>
                  <a:pt x="3014967" y="626341"/>
                </a:lnTo>
                <a:lnTo>
                  <a:pt x="2477863" y="0"/>
                </a:lnTo>
                <a:close/>
              </a:path>
            </a:pathLst>
          </a:custGeom>
          <a:blipFill>
            <a:blip r:embed="rId3" cstate="print">
              <a:extLst>
                <a:ext uri="{28A0092B-C50C-407E-A947-70E740481C1C}">
                  <a14:useLocalDpi xmlns:a14="http://schemas.microsoft.com/office/drawing/2010/main"/>
                </a:ext>
              </a:extLst>
            </a:blip>
            <a:srcRect/>
            <a:stretch>
              <a:fillRect l="-35783" t="-5211" r="-47795" b="-16587"/>
            </a:stretch>
          </a:blipFill>
          <a:ln w="5609" cap="flat">
            <a:noFill/>
            <a:prstDash val="solid"/>
            <a:miter/>
          </a:ln>
        </p:spPr>
        <p:txBody>
          <a:bodyPr rtlCol="0" anchor="ctr"/>
          <a:lstStyle/>
          <a:p>
            <a:endParaRPr lang="en-US"/>
          </a:p>
        </p:txBody>
      </p:sp>
    </p:spTree>
    <p:extLst>
      <p:ext uri="{BB962C8B-B14F-4D97-AF65-F5344CB8AC3E}">
        <p14:creationId xmlns:p14="http://schemas.microsoft.com/office/powerpoint/2010/main" val="958154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Rectangle 6">
            <a:extLst>
              <a:ext uri="{FF2B5EF4-FFF2-40B4-BE49-F238E27FC236}">
                <a16:creationId xmlns:a16="http://schemas.microsoft.com/office/drawing/2014/main" id="{25CA80ED-BD54-47D6-AB2C-7D78B46EFA4A}"/>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45856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766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Rectangle 11">
            <a:extLst>
              <a:ext uri="{FF2B5EF4-FFF2-40B4-BE49-F238E27FC236}">
                <a16:creationId xmlns:a16="http://schemas.microsoft.com/office/drawing/2014/main" id="{A63DB2F6-1164-462E-ABBB-1413D086842F}"/>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58715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1"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Rectangle 7">
            <a:extLst>
              <a:ext uri="{FF2B5EF4-FFF2-40B4-BE49-F238E27FC236}">
                <a16:creationId xmlns:a16="http://schemas.microsoft.com/office/drawing/2014/main" id="{7E1DDD49-E6AA-4091-BA77-B4708B4D8A96}"/>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90498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C34D2FD4-781B-4DBF-BDE2-B33EDEEAE38F}"/>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51080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06E57F7F-5F21-4B86-AA18-BC6DB298BB40}"/>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24618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1"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8"/>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Rectangle 10">
            <a:extLst>
              <a:ext uri="{FF2B5EF4-FFF2-40B4-BE49-F238E27FC236}">
                <a16:creationId xmlns:a16="http://schemas.microsoft.com/office/drawing/2014/main" id="{A3B4FE4C-7C04-4225-8F08-F10F79124DEE}"/>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87103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6" name="Rectangle 5">
            <a:extLst>
              <a:ext uri="{FF2B5EF4-FFF2-40B4-BE49-F238E27FC236}">
                <a16:creationId xmlns:a16="http://schemas.microsoft.com/office/drawing/2014/main" id="{BA669B47-9049-489D-8705-03BC28E1A59F}"/>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04974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338419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244110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05590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3680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43200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234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7899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4188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223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7239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66686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53878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533619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799370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67739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38177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4337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0174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10466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497062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555059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708380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18028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98360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10527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861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96594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11193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2253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4676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6726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136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19717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99918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8625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62910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986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03584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04053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613167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63466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7" name="Rectangle 6">
            <a:extLst>
              <a:ext uri="{FF2B5EF4-FFF2-40B4-BE49-F238E27FC236}">
                <a16:creationId xmlns:a16="http://schemas.microsoft.com/office/drawing/2014/main" id="{26DA047C-2E03-4828-AC23-73639AA55754}"/>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598993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7" name="Rectangle 6">
            <a:extLst>
              <a:ext uri="{FF2B5EF4-FFF2-40B4-BE49-F238E27FC236}">
                <a16:creationId xmlns:a16="http://schemas.microsoft.com/office/drawing/2014/main" id="{1A0CCCA2-D9EC-4D28-8F5E-6D904B19BFA9}"/>
              </a:ext>
            </a:extLst>
          </p:cNvPr>
          <p:cNvSpPr/>
          <p:nvPr userDrawn="1"/>
        </p:nvSpPr>
        <p:spPr bwMode="auto">
          <a:xfrm>
            <a:off x="445770" y="6275071"/>
            <a:ext cx="2697480"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393896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40647426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F3412D18-6045-4538-80DC-FACFA609648D}"/>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24501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
        <p:nvSpPr>
          <p:cNvPr id="7" name="Rectangle 6">
            <a:extLst>
              <a:ext uri="{FF2B5EF4-FFF2-40B4-BE49-F238E27FC236}">
                <a16:creationId xmlns:a16="http://schemas.microsoft.com/office/drawing/2014/main" id="{E74EB6F8-A9C7-44CD-9D9B-99AE262A672D}"/>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40385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
        <p:nvSpPr>
          <p:cNvPr id="6" name="Rectangle 5">
            <a:extLst>
              <a:ext uri="{FF2B5EF4-FFF2-40B4-BE49-F238E27FC236}">
                <a16:creationId xmlns:a16="http://schemas.microsoft.com/office/drawing/2014/main" id="{B77902B3-3661-4DBA-8AB6-058F6B16AEEE}"/>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25296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0CD875CD-BD02-4A68-9932-26CB72FF6ED0}"/>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811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26290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8CD0715A-291C-4329-8F01-81DC99F47B83}"/>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44791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93BF9E25-FC43-48B6-8455-325193C5BCD9}"/>
              </a:ext>
            </a:extLst>
          </p:cNvPr>
          <p:cNvSpPr/>
          <p:nvPr userDrawn="1"/>
        </p:nvSpPr>
        <p:spPr bwMode="auto">
          <a:xfrm>
            <a:off x="445770" y="6275071"/>
            <a:ext cx="2697480" cy="29413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0130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E24BF76D-E507-47BB-BE2F-CF019E9FC639}"/>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78579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Rectangle 3">
            <a:extLst>
              <a:ext uri="{FF2B5EF4-FFF2-40B4-BE49-F238E27FC236}">
                <a16:creationId xmlns:a16="http://schemas.microsoft.com/office/drawing/2014/main" id="{62CBD4FD-2680-4251-94F8-5A68F6AED701}"/>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37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37FB58A-DE2D-4D56-900D-BCC0C3E09379}"/>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9679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3296050B-F008-4E86-921E-A32EF3354C7C}"/>
              </a:ext>
            </a:extLst>
          </p:cNvPr>
          <p:cNvSpPr/>
          <p:nvPr userDrawn="1"/>
        </p:nvSpPr>
        <p:spPr bwMode="auto">
          <a:xfrm>
            <a:off x="445770" y="6275071"/>
            <a:ext cx="2697480" cy="29413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95903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04D0E54-2C94-41E7-9BFE-B0C10ED35762}"/>
              </a:ext>
            </a:extLst>
          </p:cNvPr>
          <p:cNvSpPr/>
          <p:nvPr userDrawn="1"/>
        </p:nvSpPr>
        <p:spPr bwMode="auto">
          <a:xfrm>
            <a:off x="445770" y="6275071"/>
            <a:ext cx="2697480" cy="294139"/>
          </a:xfrm>
          <a:prstGeom prst="rect">
            <a:avLst/>
          </a:prstGeom>
          <a:solidFill>
            <a:srgbClr val="054B1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59383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9DC4D32B-4650-4C0B-B518-9E5518B2902F}"/>
              </a:ext>
            </a:extLst>
          </p:cNvPr>
          <p:cNvSpPr/>
          <p:nvPr userDrawn="1"/>
        </p:nvSpPr>
        <p:spPr bwMode="auto">
          <a:xfrm>
            <a:off x="445770" y="6275071"/>
            <a:ext cx="2697480" cy="294139"/>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66418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6A016A22-CD12-4EFC-B847-A15F423A18AA}"/>
              </a:ext>
            </a:extLst>
          </p:cNvPr>
          <p:cNvSpPr/>
          <p:nvPr userDrawn="1"/>
        </p:nvSpPr>
        <p:spPr bwMode="auto">
          <a:xfrm>
            <a:off x="445770" y="6275071"/>
            <a:ext cx="2697480" cy="2941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6869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81D169E8-AA8B-40F0-B063-7B756DD2B3BF}"/>
              </a:ext>
            </a:extLst>
          </p:cNvPr>
          <p:cNvSpPr/>
          <p:nvPr userDrawn="1"/>
        </p:nvSpPr>
        <p:spPr bwMode="auto">
          <a:xfrm>
            <a:off x="445770" y="6275071"/>
            <a:ext cx="2697480" cy="2941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308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0232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A26A3CB4-1671-4BB0-9126-855196791F38}"/>
              </a:ext>
            </a:extLst>
          </p:cNvPr>
          <p:cNvSpPr/>
          <p:nvPr userDrawn="1"/>
        </p:nvSpPr>
        <p:spPr bwMode="auto">
          <a:xfrm>
            <a:off x="445770" y="6275071"/>
            <a:ext cx="2697480" cy="29413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54576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Rectangle 2">
            <a:extLst>
              <a:ext uri="{FF2B5EF4-FFF2-40B4-BE49-F238E27FC236}">
                <a16:creationId xmlns:a16="http://schemas.microsoft.com/office/drawing/2014/main" id="{552454C0-3DA9-453A-ADEB-52992320C6CD}"/>
              </a:ext>
            </a:extLst>
          </p:cNvPr>
          <p:cNvSpPr/>
          <p:nvPr userDrawn="1"/>
        </p:nvSpPr>
        <p:spPr bwMode="auto">
          <a:xfrm>
            <a:off x="445770" y="6275071"/>
            <a:ext cx="2697480" cy="294139"/>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6063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3"/>
            <a:ext cx="5024048" cy="4379659"/>
          </a:xfrm>
          <a:prstGeom prst="rect">
            <a:avLst/>
          </a:prstGeom>
        </p:spPr>
      </p:pic>
      <p:sp>
        <p:nvSpPr>
          <p:cNvPr id="7" name="Rectangle 6">
            <a:extLst>
              <a:ext uri="{FF2B5EF4-FFF2-40B4-BE49-F238E27FC236}">
                <a16:creationId xmlns:a16="http://schemas.microsoft.com/office/drawing/2014/main" id="{F04085EA-61AE-4D49-811B-263ED25D13AE}"/>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44887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
        <p:nvSpPr>
          <p:cNvPr id="5" name="Rectangle 4">
            <a:extLst>
              <a:ext uri="{FF2B5EF4-FFF2-40B4-BE49-F238E27FC236}">
                <a16:creationId xmlns:a16="http://schemas.microsoft.com/office/drawing/2014/main" id="{0CD8631A-C992-4E30-BEC8-A1B373C82A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558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5"/>
            <a:ext cx="6921500" cy="2294285"/>
          </a:xfrm>
          <a:prstGeom prst="rect">
            <a:avLst/>
          </a:prstGeom>
        </p:spPr>
      </p:pic>
      <p:sp>
        <p:nvSpPr>
          <p:cNvPr id="5" name="Rectangle 4">
            <a:extLst>
              <a:ext uri="{FF2B5EF4-FFF2-40B4-BE49-F238E27FC236}">
                <a16:creationId xmlns:a16="http://schemas.microsoft.com/office/drawing/2014/main" id="{25DBBB16-1AD8-44CB-9C28-F1663FD5DF6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41458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500" y="-1"/>
            <a:ext cx="6921501" cy="6858001"/>
          </a:xfrm>
          <a:prstGeom prst="rect">
            <a:avLst/>
          </a:prstGeom>
        </p:spPr>
      </p:pic>
      <p:sp>
        <p:nvSpPr>
          <p:cNvPr id="5" name="Rectangle 4">
            <a:extLst>
              <a:ext uri="{FF2B5EF4-FFF2-40B4-BE49-F238E27FC236}">
                <a16:creationId xmlns:a16="http://schemas.microsoft.com/office/drawing/2014/main" id="{3A3EB518-CCCD-44BF-A6CF-BEC93335453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09979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700"/>
            <a:ext cx="6245934" cy="4735013"/>
          </a:xfrm>
          <a:prstGeom prst="rect">
            <a:avLst/>
          </a:prstGeom>
        </p:spPr>
      </p:pic>
      <p:sp>
        <p:nvSpPr>
          <p:cNvPr id="5" name="Rectangle 4">
            <a:extLst>
              <a:ext uri="{FF2B5EF4-FFF2-40B4-BE49-F238E27FC236}">
                <a16:creationId xmlns:a16="http://schemas.microsoft.com/office/drawing/2014/main" id="{EA1F3F05-F8DF-403A-86A7-7C23888A2C7C}"/>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33740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Graphic 3">
            <a:extLst>
              <a:ext uri="{FF2B5EF4-FFF2-40B4-BE49-F238E27FC236}">
                <a16:creationId xmlns:a16="http://schemas.microsoft.com/office/drawing/2014/main" id="{9B3364DC-644E-7D22-5319-99DBE7EEB4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Tree>
    <p:extLst>
      <p:ext uri="{BB962C8B-B14F-4D97-AF65-F5344CB8AC3E}">
        <p14:creationId xmlns:p14="http://schemas.microsoft.com/office/powerpoint/2010/main" val="2514146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pic>
        <p:nvPicPr>
          <p:cNvPr id="3" name="Picture 2" descr="A person pointing at a screen&#10;&#10;Description automatically generated with low confidence">
            <a:extLst>
              <a:ext uri="{FF2B5EF4-FFF2-40B4-BE49-F238E27FC236}">
                <a16:creationId xmlns:a16="http://schemas.microsoft.com/office/drawing/2014/main" id="{8FEC4831-E9C6-64F2-304F-924A8D3B1902}"/>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l="19832" r="13562"/>
          <a:stretch>
            <a:fillRect/>
          </a:stretch>
        </p:blipFill>
        <p:spPr>
          <a:xfrm>
            <a:off x="5673957" y="0"/>
            <a:ext cx="6518043" cy="6858000"/>
          </a:xfrm>
          <a:custGeom>
            <a:avLst/>
            <a:gdLst>
              <a:gd name="connsiteX0" fmla="*/ 3781538 w 3781538"/>
              <a:gd name="connsiteY0" fmla="*/ 1603637 h 3784973"/>
              <a:gd name="connsiteX1" fmla="*/ 3781538 w 3781538"/>
              <a:gd name="connsiteY1" fmla="*/ 3560538 h 3784973"/>
              <a:gd name="connsiteX2" fmla="*/ 3585281 w 3781538"/>
              <a:gd name="connsiteY2" fmla="*/ 3761282 h 3784973"/>
              <a:gd name="connsiteX3" fmla="*/ 3580374 w 3781538"/>
              <a:gd name="connsiteY3" fmla="*/ 3766329 h 3784973"/>
              <a:gd name="connsiteX4" fmla="*/ 3566356 w 3781538"/>
              <a:gd name="connsiteY4" fmla="*/ 3784973 h 3784973"/>
              <a:gd name="connsiteX5" fmla="*/ 2189606 w 3781538"/>
              <a:gd name="connsiteY5" fmla="*/ 3784973 h 3784973"/>
              <a:gd name="connsiteX6" fmla="*/ 2609599 w 3781538"/>
              <a:gd name="connsiteY6" fmla="*/ 2804385 h 3784973"/>
              <a:gd name="connsiteX7" fmla="*/ 1029933 w 3781538"/>
              <a:gd name="connsiteY7" fmla="*/ 0 h 3784973"/>
              <a:gd name="connsiteX8" fmla="*/ 2942886 w 3781538"/>
              <a:gd name="connsiteY8" fmla="*/ 0 h 3784973"/>
              <a:gd name="connsiteX9" fmla="*/ 1394832 w 3781538"/>
              <a:gd name="connsiteY9" fmla="*/ 1580717 h 3784973"/>
              <a:gd name="connsiteX10" fmla="*/ 1390697 w 3781538"/>
              <a:gd name="connsiteY10" fmla="*/ 1584923 h 3784973"/>
              <a:gd name="connsiteX11" fmla="*/ 1390697 w 3781538"/>
              <a:gd name="connsiteY11" fmla="*/ 1705131 h 3784973"/>
              <a:gd name="connsiteX12" fmla="*/ 1402893 w 3781538"/>
              <a:gd name="connsiteY12" fmla="*/ 1717256 h 3784973"/>
              <a:gd name="connsiteX13" fmla="*/ 1462891 w 3781538"/>
              <a:gd name="connsiteY13" fmla="*/ 1742000 h 3784973"/>
              <a:gd name="connsiteX14" fmla="*/ 1521699 w 3781538"/>
              <a:gd name="connsiteY14" fmla="*/ 1718308 h 3784973"/>
              <a:gd name="connsiteX15" fmla="*/ 3199213 w 3781538"/>
              <a:gd name="connsiteY15" fmla="*/ 0 h 3784973"/>
              <a:gd name="connsiteX16" fmla="*/ 3781469 w 3781538"/>
              <a:gd name="connsiteY16" fmla="*/ 0 h 3784973"/>
              <a:gd name="connsiteX17" fmla="*/ 3781469 w 3781538"/>
              <a:gd name="connsiteY17" fmla="*/ 1360278 h 3784973"/>
              <a:gd name="connsiteX18" fmla="*/ 2496750 w 3781538"/>
              <a:gd name="connsiteY18" fmla="*/ 2676678 h 3784973"/>
              <a:gd name="connsiteX19" fmla="*/ 2491843 w 3781538"/>
              <a:gd name="connsiteY19" fmla="*/ 2681654 h 3784973"/>
              <a:gd name="connsiteX20" fmla="*/ 438706 w 3781538"/>
              <a:gd name="connsiteY20" fmla="*/ 2685578 h 3784973"/>
              <a:gd name="connsiteX21" fmla="*/ 426510 w 3781538"/>
              <a:gd name="connsiteY21" fmla="*/ 2673382 h 3784973"/>
              <a:gd name="connsiteX22" fmla="*/ 420131 w 3781538"/>
              <a:gd name="connsiteY22" fmla="*/ 622769 h 378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81538" h="3784973">
                <a:moveTo>
                  <a:pt x="3781538" y="1603637"/>
                </a:moveTo>
                <a:lnTo>
                  <a:pt x="3781538" y="3560538"/>
                </a:lnTo>
                <a:lnTo>
                  <a:pt x="3585281" y="3761282"/>
                </a:lnTo>
                <a:lnTo>
                  <a:pt x="3580374" y="3766329"/>
                </a:lnTo>
                <a:cubicBezTo>
                  <a:pt x="3574885" y="3771887"/>
                  <a:pt x="3570169" y="3778161"/>
                  <a:pt x="3566356" y="3784973"/>
                </a:cubicBezTo>
                <a:lnTo>
                  <a:pt x="2189606" y="3784973"/>
                </a:lnTo>
                <a:cubicBezTo>
                  <a:pt x="2199090" y="3416436"/>
                  <a:pt x="2349381" y="3065533"/>
                  <a:pt x="2609599" y="2804385"/>
                </a:cubicBezTo>
                <a:close/>
                <a:moveTo>
                  <a:pt x="1029933" y="0"/>
                </a:moveTo>
                <a:lnTo>
                  <a:pt x="2942886" y="0"/>
                </a:lnTo>
                <a:lnTo>
                  <a:pt x="1394832" y="1580717"/>
                </a:lnTo>
                <a:lnTo>
                  <a:pt x="1390697" y="1584923"/>
                </a:lnTo>
                <a:cubicBezTo>
                  <a:pt x="1357592" y="1618154"/>
                  <a:pt x="1357592" y="1671900"/>
                  <a:pt x="1390697" y="1705131"/>
                </a:cubicBezTo>
                <a:lnTo>
                  <a:pt x="1402893" y="1717256"/>
                </a:lnTo>
                <a:cubicBezTo>
                  <a:pt x="1418670" y="1733363"/>
                  <a:pt x="1440349" y="1742300"/>
                  <a:pt x="1462891" y="1742000"/>
                </a:cubicBezTo>
                <a:cubicBezTo>
                  <a:pt x="1484879" y="1742308"/>
                  <a:pt x="1506068" y="1733771"/>
                  <a:pt x="1521699" y="1718308"/>
                </a:cubicBezTo>
                <a:lnTo>
                  <a:pt x="3199213" y="0"/>
                </a:lnTo>
                <a:lnTo>
                  <a:pt x="3781469" y="0"/>
                </a:lnTo>
                <a:lnTo>
                  <a:pt x="3781469" y="1360278"/>
                </a:lnTo>
                <a:lnTo>
                  <a:pt x="2496750" y="2676678"/>
                </a:lnTo>
                <a:lnTo>
                  <a:pt x="2491843" y="2681654"/>
                </a:lnTo>
                <a:cubicBezTo>
                  <a:pt x="1925948" y="3249645"/>
                  <a:pt x="1006767" y="3251398"/>
                  <a:pt x="438706" y="2685578"/>
                </a:cubicBezTo>
                <a:lnTo>
                  <a:pt x="426510" y="2673382"/>
                </a:lnTo>
                <a:cubicBezTo>
                  <a:pt x="-139765" y="2109281"/>
                  <a:pt x="-142428" y="1190094"/>
                  <a:pt x="420131" y="622769"/>
                </a:cubicBezTo>
                <a:close/>
              </a:path>
            </a:pathLst>
          </a:custGeom>
        </p:spPr>
      </p:pic>
    </p:spTree>
    <p:extLst>
      <p:ext uri="{BB962C8B-B14F-4D97-AF65-F5344CB8AC3E}">
        <p14:creationId xmlns:p14="http://schemas.microsoft.com/office/powerpoint/2010/main" val="34482836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8" name="Graphic 19">
            <a:extLst>
              <a:ext uri="{FF2B5EF4-FFF2-40B4-BE49-F238E27FC236}">
                <a16:creationId xmlns:a16="http://schemas.microsoft.com/office/drawing/2014/main" id="{5A10DA62-8D1E-7919-795A-BDAD8C3153DD}"/>
              </a:ext>
            </a:extLst>
          </p:cNvPr>
          <p:cNvSpPr/>
          <p:nvPr/>
        </p:nvSpPr>
        <p:spPr>
          <a:xfrm>
            <a:off x="5537201" y="-15227"/>
            <a:ext cx="6654800" cy="6875057"/>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2"/>
            <a:stretch>
              <a:fillRect l="-2670" r="-80908" b="-21798"/>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783087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403375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39">
            <a:extLst>
              <a:ext uri="{FF2B5EF4-FFF2-40B4-BE49-F238E27FC236}">
                <a16:creationId xmlns:a16="http://schemas.microsoft.com/office/drawing/2014/main" id="{79FE58D8-4DBC-55A1-19A2-21B99DFC9AD4}"/>
              </a:ext>
            </a:extLst>
          </p:cNvPr>
          <p:cNvSpPr/>
          <p:nvPr userDrawn="1"/>
        </p:nvSpPr>
        <p:spPr>
          <a:xfrm>
            <a:off x="5925446" y="-1"/>
            <a:ext cx="6851771" cy="6857999"/>
          </a:xfrm>
          <a:custGeom>
            <a:avLst/>
            <a:gdLst>
              <a:gd name="connsiteX0" fmla="*/ 1118750 w 3033051"/>
              <a:gd name="connsiteY0" fmla="*/ 1267843 h 3035808"/>
              <a:gd name="connsiteX1" fmla="*/ 1115433 w 3033051"/>
              <a:gd name="connsiteY1" fmla="*/ 1271217 h 3035808"/>
              <a:gd name="connsiteX2" fmla="*/ 1115433 w 3033051"/>
              <a:gd name="connsiteY2" fmla="*/ 1367632 h 3035808"/>
              <a:gd name="connsiteX3" fmla="*/ 1125215 w 3033051"/>
              <a:gd name="connsiteY3" fmla="*/ 1377357 h 3035808"/>
              <a:gd name="connsiteX4" fmla="*/ 1173338 w 3033051"/>
              <a:gd name="connsiteY4" fmla="*/ 1397203 h 3035808"/>
              <a:gd name="connsiteX5" fmla="*/ 1173338 w 3033051"/>
              <a:gd name="connsiteY5" fmla="*/ 1397203 h 3035808"/>
              <a:gd name="connsiteX6" fmla="*/ 1220506 w 3033051"/>
              <a:gd name="connsiteY6" fmla="*/ 1378201 h 3035808"/>
              <a:gd name="connsiteX7" fmla="*/ 2565987 w 3033051"/>
              <a:gd name="connsiteY7" fmla="*/ 0 h 3035808"/>
              <a:gd name="connsiteX8" fmla="*/ 3032996 w 3033051"/>
              <a:gd name="connsiteY8" fmla="*/ 0 h 3035808"/>
              <a:gd name="connsiteX9" fmla="*/ 3032996 w 3033051"/>
              <a:gd name="connsiteY9" fmla="*/ 1091036 h 3035808"/>
              <a:gd name="connsiteX10" fmla="*/ 2002564 w 3033051"/>
              <a:gd name="connsiteY10" fmla="*/ 2146879 h 3035808"/>
              <a:gd name="connsiteX11" fmla="*/ 1998628 w 3033051"/>
              <a:gd name="connsiteY11" fmla="*/ 2150870 h 3035808"/>
              <a:gd name="connsiteX12" fmla="*/ 351871 w 3033051"/>
              <a:gd name="connsiteY12" fmla="*/ 2154018 h 3035808"/>
              <a:gd name="connsiteX13" fmla="*/ 342089 w 3033051"/>
              <a:gd name="connsiteY13" fmla="*/ 2144236 h 3035808"/>
              <a:gd name="connsiteX14" fmla="*/ 336973 w 3033051"/>
              <a:gd name="connsiteY14" fmla="*/ 499503 h 3035808"/>
              <a:gd name="connsiteX15" fmla="*/ 826076 w 3033051"/>
              <a:gd name="connsiteY15" fmla="*/ 0 h 3035808"/>
              <a:gd name="connsiteX16" fmla="*/ 2360395 w 3033051"/>
              <a:gd name="connsiteY16" fmla="*/ 0 h 3035808"/>
              <a:gd name="connsiteX17" fmla="*/ 2875640 w 3033051"/>
              <a:gd name="connsiteY17" fmla="*/ 3016806 h 3035808"/>
              <a:gd name="connsiteX18" fmla="*/ 3033052 w 3033051"/>
              <a:gd name="connsiteY18" fmla="*/ 2855796 h 3035808"/>
              <a:gd name="connsiteX19" fmla="*/ 3033052 w 3033051"/>
              <a:gd name="connsiteY19" fmla="*/ 1286227 h 3035808"/>
              <a:gd name="connsiteX20" fmla="*/ 2093076 w 3033051"/>
              <a:gd name="connsiteY20" fmla="*/ 2249309 h 3035808"/>
              <a:gd name="connsiteX21" fmla="*/ 1756213 w 3033051"/>
              <a:gd name="connsiteY21" fmla="*/ 3035808 h 3035808"/>
              <a:gd name="connsiteX22" fmla="*/ 2860461 w 3033051"/>
              <a:gd name="connsiteY22" fmla="*/ 3035808 h 3035808"/>
              <a:gd name="connsiteX23" fmla="*/ 2871704 w 3033051"/>
              <a:gd name="connsiteY23" fmla="*/ 3020854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33051" h="3035808">
                <a:moveTo>
                  <a:pt x="1118750" y="1267843"/>
                </a:moveTo>
                <a:lnTo>
                  <a:pt x="1115433" y="1271217"/>
                </a:lnTo>
                <a:cubicBezTo>
                  <a:pt x="1088881" y="1297870"/>
                  <a:pt x="1088881" y="1340978"/>
                  <a:pt x="1115433" y="1367632"/>
                </a:cubicBezTo>
                <a:lnTo>
                  <a:pt x="1125215" y="1377357"/>
                </a:lnTo>
                <a:cubicBezTo>
                  <a:pt x="1137870" y="1390276"/>
                  <a:pt x="1155258" y="1397444"/>
                  <a:pt x="1173338" y="1397203"/>
                </a:cubicBezTo>
                <a:lnTo>
                  <a:pt x="1173338" y="1397203"/>
                </a:lnTo>
                <a:cubicBezTo>
                  <a:pt x="1190974" y="1397450"/>
                  <a:pt x="1207969" y="1390603"/>
                  <a:pt x="1220506" y="1378201"/>
                </a:cubicBezTo>
                <a:lnTo>
                  <a:pt x="2565987" y="0"/>
                </a:lnTo>
                <a:lnTo>
                  <a:pt x="3032996" y="0"/>
                </a:lnTo>
                <a:lnTo>
                  <a:pt x="3032996" y="1091036"/>
                </a:lnTo>
                <a:lnTo>
                  <a:pt x="2002564" y="2146879"/>
                </a:lnTo>
                <a:lnTo>
                  <a:pt x="1998628" y="2150870"/>
                </a:lnTo>
                <a:cubicBezTo>
                  <a:pt x="1544741" y="2606438"/>
                  <a:pt x="807495" y="2607844"/>
                  <a:pt x="351871" y="2154018"/>
                </a:cubicBezTo>
                <a:lnTo>
                  <a:pt x="342089" y="2144236"/>
                </a:lnTo>
                <a:cubicBezTo>
                  <a:pt x="-112102" y="1691788"/>
                  <a:pt x="-114238" y="954537"/>
                  <a:pt x="336973" y="499503"/>
                </a:cubicBezTo>
                <a:lnTo>
                  <a:pt x="826076" y="0"/>
                </a:lnTo>
                <a:lnTo>
                  <a:pt x="2360395" y="0"/>
                </a:lnTo>
                <a:close/>
                <a:moveTo>
                  <a:pt x="2875640" y="3016806"/>
                </a:moveTo>
                <a:lnTo>
                  <a:pt x="3033052" y="2855796"/>
                </a:lnTo>
                <a:lnTo>
                  <a:pt x="3033052" y="1286227"/>
                </a:lnTo>
                <a:lnTo>
                  <a:pt x="2093076" y="2249309"/>
                </a:lnTo>
                <a:cubicBezTo>
                  <a:pt x="1884364" y="2458768"/>
                  <a:pt x="1763820" y="2740216"/>
                  <a:pt x="1756213" y="3035808"/>
                </a:cubicBezTo>
                <a:lnTo>
                  <a:pt x="2860461" y="3035808"/>
                </a:lnTo>
                <a:cubicBezTo>
                  <a:pt x="2863519" y="3030344"/>
                  <a:pt x="2867302" y="3025312"/>
                  <a:pt x="2871704" y="3020854"/>
                </a:cubicBezTo>
                <a:close/>
              </a:path>
            </a:pathLst>
          </a:custGeom>
          <a:blipFill>
            <a:blip r:embed="rId2"/>
            <a:stretch>
              <a:fillRect l="-193" r="-41276"/>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111305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39">
            <a:extLst>
              <a:ext uri="{FF2B5EF4-FFF2-40B4-BE49-F238E27FC236}">
                <a16:creationId xmlns:a16="http://schemas.microsoft.com/office/drawing/2014/main" id="{79FE58D8-4DBC-55A1-19A2-21B99DFC9AD4}"/>
              </a:ext>
            </a:extLst>
          </p:cNvPr>
          <p:cNvSpPr/>
          <p:nvPr userDrawn="1"/>
        </p:nvSpPr>
        <p:spPr>
          <a:xfrm>
            <a:off x="5340229" y="-1"/>
            <a:ext cx="6851771" cy="6857999"/>
          </a:xfrm>
          <a:custGeom>
            <a:avLst/>
            <a:gdLst>
              <a:gd name="connsiteX0" fmla="*/ 1118750 w 3033051"/>
              <a:gd name="connsiteY0" fmla="*/ 1267843 h 3035808"/>
              <a:gd name="connsiteX1" fmla="*/ 1115433 w 3033051"/>
              <a:gd name="connsiteY1" fmla="*/ 1271217 h 3035808"/>
              <a:gd name="connsiteX2" fmla="*/ 1115433 w 3033051"/>
              <a:gd name="connsiteY2" fmla="*/ 1367632 h 3035808"/>
              <a:gd name="connsiteX3" fmla="*/ 1125215 w 3033051"/>
              <a:gd name="connsiteY3" fmla="*/ 1377357 h 3035808"/>
              <a:gd name="connsiteX4" fmla="*/ 1173338 w 3033051"/>
              <a:gd name="connsiteY4" fmla="*/ 1397203 h 3035808"/>
              <a:gd name="connsiteX5" fmla="*/ 1173338 w 3033051"/>
              <a:gd name="connsiteY5" fmla="*/ 1397203 h 3035808"/>
              <a:gd name="connsiteX6" fmla="*/ 1220506 w 3033051"/>
              <a:gd name="connsiteY6" fmla="*/ 1378201 h 3035808"/>
              <a:gd name="connsiteX7" fmla="*/ 2565987 w 3033051"/>
              <a:gd name="connsiteY7" fmla="*/ 0 h 3035808"/>
              <a:gd name="connsiteX8" fmla="*/ 3032996 w 3033051"/>
              <a:gd name="connsiteY8" fmla="*/ 0 h 3035808"/>
              <a:gd name="connsiteX9" fmla="*/ 3032996 w 3033051"/>
              <a:gd name="connsiteY9" fmla="*/ 1091036 h 3035808"/>
              <a:gd name="connsiteX10" fmla="*/ 2002564 w 3033051"/>
              <a:gd name="connsiteY10" fmla="*/ 2146879 h 3035808"/>
              <a:gd name="connsiteX11" fmla="*/ 1998628 w 3033051"/>
              <a:gd name="connsiteY11" fmla="*/ 2150870 h 3035808"/>
              <a:gd name="connsiteX12" fmla="*/ 351871 w 3033051"/>
              <a:gd name="connsiteY12" fmla="*/ 2154018 h 3035808"/>
              <a:gd name="connsiteX13" fmla="*/ 342089 w 3033051"/>
              <a:gd name="connsiteY13" fmla="*/ 2144236 h 3035808"/>
              <a:gd name="connsiteX14" fmla="*/ 336973 w 3033051"/>
              <a:gd name="connsiteY14" fmla="*/ 499503 h 3035808"/>
              <a:gd name="connsiteX15" fmla="*/ 826076 w 3033051"/>
              <a:gd name="connsiteY15" fmla="*/ 0 h 3035808"/>
              <a:gd name="connsiteX16" fmla="*/ 2360395 w 3033051"/>
              <a:gd name="connsiteY16" fmla="*/ 0 h 3035808"/>
              <a:gd name="connsiteX17" fmla="*/ 2875640 w 3033051"/>
              <a:gd name="connsiteY17" fmla="*/ 3016806 h 3035808"/>
              <a:gd name="connsiteX18" fmla="*/ 3033052 w 3033051"/>
              <a:gd name="connsiteY18" fmla="*/ 2855796 h 3035808"/>
              <a:gd name="connsiteX19" fmla="*/ 3033052 w 3033051"/>
              <a:gd name="connsiteY19" fmla="*/ 1286227 h 3035808"/>
              <a:gd name="connsiteX20" fmla="*/ 2093076 w 3033051"/>
              <a:gd name="connsiteY20" fmla="*/ 2249309 h 3035808"/>
              <a:gd name="connsiteX21" fmla="*/ 1756213 w 3033051"/>
              <a:gd name="connsiteY21" fmla="*/ 3035808 h 3035808"/>
              <a:gd name="connsiteX22" fmla="*/ 2860461 w 3033051"/>
              <a:gd name="connsiteY22" fmla="*/ 3035808 h 3035808"/>
              <a:gd name="connsiteX23" fmla="*/ 2871704 w 3033051"/>
              <a:gd name="connsiteY23" fmla="*/ 3020854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33051" h="3035808">
                <a:moveTo>
                  <a:pt x="1118750" y="1267843"/>
                </a:moveTo>
                <a:lnTo>
                  <a:pt x="1115433" y="1271217"/>
                </a:lnTo>
                <a:cubicBezTo>
                  <a:pt x="1088881" y="1297870"/>
                  <a:pt x="1088881" y="1340978"/>
                  <a:pt x="1115433" y="1367632"/>
                </a:cubicBezTo>
                <a:lnTo>
                  <a:pt x="1125215" y="1377357"/>
                </a:lnTo>
                <a:cubicBezTo>
                  <a:pt x="1137870" y="1390276"/>
                  <a:pt x="1155258" y="1397444"/>
                  <a:pt x="1173338" y="1397203"/>
                </a:cubicBezTo>
                <a:lnTo>
                  <a:pt x="1173338" y="1397203"/>
                </a:lnTo>
                <a:cubicBezTo>
                  <a:pt x="1190974" y="1397450"/>
                  <a:pt x="1207969" y="1390603"/>
                  <a:pt x="1220506" y="1378201"/>
                </a:cubicBezTo>
                <a:lnTo>
                  <a:pt x="2565987" y="0"/>
                </a:lnTo>
                <a:lnTo>
                  <a:pt x="3032996" y="0"/>
                </a:lnTo>
                <a:lnTo>
                  <a:pt x="3032996" y="1091036"/>
                </a:lnTo>
                <a:lnTo>
                  <a:pt x="2002564" y="2146879"/>
                </a:lnTo>
                <a:lnTo>
                  <a:pt x="1998628" y="2150870"/>
                </a:lnTo>
                <a:cubicBezTo>
                  <a:pt x="1544741" y="2606438"/>
                  <a:pt x="807495" y="2607844"/>
                  <a:pt x="351871" y="2154018"/>
                </a:cubicBezTo>
                <a:lnTo>
                  <a:pt x="342089" y="2144236"/>
                </a:lnTo>
                <a:cubicBezTo>
                  <a:pt x="-112102" y="1691788"/>
                  <a:pt x="-114238" y="954537"/>
                  <a:pt x="336973" y="499503"/>
                </a:cubicBezTo>
                <a:lnTo>
                  <a:pt x="826076" y="0"/>
                </a:lnTo>
                <a:lnTo>
                  <a:pt x="2360395" y="0"/>
                </a:lnTo>
                <a:close/>
                <a:moveTo>
                  <a:pt x="2875640" y="3016806"/>
                </a:moveTo>
                <a:lnTo>
                  <a:pt x="3033052" y="2855796"/>
                </a:lnTo>
                <a:lnTo>
                  <a:pt x="3033052" y="1286227"/>
                </a:lnTo>
                <a:lnTo>
                  <a:pt x="2093076" y="2249309"/>
                </a:lnTo>
                <a:cubicBezTo>
                  <a:pt x="1884364" y="2458768"/>
                  <a:pt x="1763820" y="2740216"/>
                  <a:pt x="1756213" y="3035808"/>
                </a:cubicBezTo>
                <a:lnTo>
                  <a:pt x="2860461" y="3035808"/>
                </a:lnTo>
                <a:cubicBezTo>
                  <a:pt x="2863519" y="3030344"/>
                  <a:pt x="2867302" y="3025312"/>
                  <a:pt x="2871704" y="3020854"/>
                </a:cubicBezTo>
                <a:close/>
              </a:path>
            </a:pathLst>
          </a:custGeom>
          <a:blipFill>
            <a:blip r:embed="rId2"/>
            <a:stretch>
              <a:fillRect l="-7876" t="-5430" r="-41275"/>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01919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6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8" name="Graphic 48">
            <a:extLst>
              <a:ext uri="{FF2B5EF4-FFF2-40B4-BE49-F238E27FC236}">
                <a16:creationId xmlns:a16="http://schemas.microsoft.com/office/drawing/2014/main" id="{5A2DAB4D-4E46-FFE7-DEF9-23023D8B5718}"/>
              </a:ext>
            </a:extLst>
          </p:cNvPr>
          <p:cNvSpPr/>
          <p:nvPr/>
        </p:nvSpPr>
        <p:spPr>
          <a:xfrm>
            <a:off x="5745403" y="-16579"/>
            <a:ext cx="6446597" cy="6858000"/>
          </a:xfrm>
          <a:custGeom>
            <a:avLst/>
            <a:gdLst>
              <a:gd name="connsiteX0" fmla="*/ 1268553 w 2857340"/>
              <a:gd name="connsiteY0" fmla="*/ 1741306 h 3039687"/>
              <a:gd name="connsiteX1" fmla="*/ 925245 w 2857340"/>
              <a:gd name="connsiteY1" fmla="*/ 1665328 h 3039687"/>
              <a:gd name="connsiteX2" fmla="*/ 874593 w 2857340"/>
              <a:gd name="connsiteY2" fmla="*/ 1586536 h 3039687"/>
              <a:gd name="connsiteX3" fmla="*/ 953385 w 2857340"/>
              <a:gd name="connsiteY3" fmla="*/ 1535884 h 3039687"/>
              <a:gd name="connsiteX4" fmla="*/ 1231971 w 2857340"/>
              <a:gd name="connsiteY4" fmla="*/ 1597229 h 3039687"/>
              <a:gd name="connsiteX5" fmla="*/ 1293317 w 2857340"/>
              <a:gd name="connsiteY5" fmla="*/ 1318643 h 3039687"/>
              <a:gd name="connsiteX6" fmla="*/ 1372109 w 2857340"/>
              <a:gd name="connsiteY6" fmla="*/ 1267991 h 3039687"/>
              <a:gd name="connsiteX7" fmla="*/ 1422761 w 2857340"/>
              <a:gd name="connsiteY7" fmla="*/ 1346783 h 3039687"/>
              <a:gd name="connsiteX8" fmla="*/ 1346783 w 2857340"/>
              <a:gd name="connsiteY8" fmla="*/ 1690091 h 3039687"/>
              <a:gd name="connsiteX9" fmla="*/ 1317517 w 2857340"/>
              <a:gd name="connsiteY9" fmla="*/ 1731739 h 3039687"/>
              <a:gd name="connsiteX10" fmla="*/ 1268553 w 2857340"/>
              <a:gd name="connsiteY10" fmla="*/ 1741306 h 3039687"/>
              <a:gd name="connsiteX11" fmla="*/ 1093522 w 2857340"/>
              <a:gd name="connsiteY11" fmla="*/ 1929282 h 3039687"/>
              <a:gd name="connsiteX12" fmla="*/ 1436831 w 2857340"/>
              <a:gd name="connsiteY12" fmla="*/ 2005260 h 3039687"/>
              <a:gd name="connsiteX13" fmla="*/ 1486920 w 2857340"/>
              <a:gd name="connsiteY13" fmla="*/ 1996255 h 3039687"/>
              <a:gd name="connsiteX14" fmla="*/ 1516186 w 2857340"/>
              <a:gd name="connsiteY14" fmla="*/ 1954608 h 3039687"/>
              <a:gd name="connsiteX15" fmla="*/ 1592164 w 2857340"/>
              <a:gd name="connsiteY15" fmla="*/ 1611299 h 3039687"/>
              <a:gd name="connsiteX16" fmla="*/ 1541512 w 2857340"/>
              <a:gd name="connsiteY16" fmla="*/ 1532507 h 3039687"/>
              <a:gd name="connsiteX17" fmla="*/ 1462720 w 2857340"/>
              <a:gd name="connsiteY17" fmla="*/ 1583159 h 3039687"/>
              <a:gd name="connsiteX18" fmla="*/ 1401374 w 2857340"/>
              <a:gd name="connsiteY18" fmla="*/ 1861745 h 3039687"/>
              <a:gd name="connsiteX19" fmla="*/ 1122788 w 2857340"/>
              <a:gd name="connsiteY19" fmla="*/ 1800400 h 3039687"/>
              <a:gd name="connsiteX20" fmla="*/ 1043996 w 2857340"/>
              <a:gd name="connsiteY20" fmla="*/ 1851052 h 3039687"/>
              <a:gd name="connsiteX21" fmla="*/ 1093522 w 2857340"/>
              <a:gd name="connsiteY21" fmla="*/ 1929282 h 3039687"/>
              <a:gd name="connsiteX22" fmla="*/ 1851615 w 2857340"/>
              <a:gd name="connsiteY22" fmla="*/ 646096 h 3039687"/>
              <a:gd name="connsiteX23" fmla="*/ 1424449 w 2857340"/>
              <a:gd name="connsiteY23" fmla="*/ 549857 h 3039687"/>
              <a:gd name="connsiteX24" fmla="*/ 1328210 w 2857340"/>
              <a:gd name="connsiteY24" fmla="*/ 977022 h 3039687"/>
              <a:gd name="connsiteX25" fmla="*/ 2631094 w 2857340"/>
              <a:gd name="connsiteY25" fmla="*/ 3039125 h 3039687"/>
              <a:gd name="connsiteX26" fmla="*/ 2856778 w 2857340"/>
              <a:gd name="connsiteY26" fmla="*/ 3039125 h 3039687"/>
              <a:gd name="connsiteX27" fmla="*/ 2856778 w 2857340"/>
              <a:gd name="connsiteY27" fmla="*/ 2237134 h 3039687"/>
              <a:gd name="connsiteX28" fmla="*/ 1851615 w 2857340"/>
              <a:gd name="connsiteY28" fmla="*/ 646096 h 3039687"/>
              <a:gd name="connsiteX29" fmla="*/ 2080112 w 2857340"/>
              <a:gd name="connsiteY29" fmla="*/ 2328308 h 3039687"/>
              <a:gd name="connsiteX30" fmla="*/ 1652946 w 2857340"/>
              <a:gd name="connsiteY30" fmla="*/ 2232069 h 3039687"/>
              <a:gd name="connsiteX31" fmla="*/ 1556707 w 2857340"/>
              <a:gd name="connsiteY31" fmla="*/ 2659235 h 3039687"/>
              <a:gd name="connsiteX32" fmla="*/ 1797023 w 2857340"/>
              <a:gd name="connsiteY32" fmla="*/ 3039688 h 3039687"/>
              <a:gd name="connsiteX33" fmla="*/ 2529227 w 2857340"/>
              <a:gd name="connsiteY33" fmla="*/ 3039688 h 3039687"/>
              <a:gd name="connsiteX34" fmla="*/ 2080112 w 2857340"/>
              <a:gd name="connsiteY34" fmla="*/ 2328308 h 3039687"/>
              <a:gd name="connsiteX35" fmla="*/ 1546014 w 2857340"/>
              <a:gd name="connsiteY35" fmla="*/ 0 h 3039687"/>
              <a:gd name="connsiteX36" fmla="*/ 2857340 w 2857340"/>
              <a:gd name="connsiteY36" fmla="*/ 2075047 h 3039687"/>
              <a:gd name="connsiteX37" fmla="*/ 2857340 w 2857340"/>
              <a:gd name="connsiteY37" fmla="*/ 915677 h 3039687"/>
              <a:gd name="connsiteX38" fmla="*/ 2278218 w 2857340"/>
              <a:gd name="connsiteY38" fmla="*/ 0 h 3039687"/>
              <a:gd name="connsiteX39" fmla="*/ 1546014 w 2857340"/>
              <a:gd name="connsiteY39" fmla="*/ 0 h 3039687"/>
              <a:gd name="connsiteX40" fmla="*/ 141263 w 2857340"/>
              <a:gd name="connsiteY40" fmla="*/ 418724 h 3039687"/>
              <a:gd name="connsiteX41" fmla="*/ 562801 w 2857340"/>
              <a:gd name="connsiteY41" fmla="*/ 1085643 h 3039687"/>
              <a:gd name="connsiteX42" fmla="*/ 989967 w 2857340"/>
              <a:gd name="connsiteY42" fmla="*/ 1181882 h 3039687"/>
              <a:gd name="connsiteX43" fmla="*/ 1086206 w 2857340"/>
              <a:gd name="connsiteY43" fmla="*/ 754716 h 3039687"/>
              <a:gd name="connsiteX44" fmla="*/ 664668 w 2857340"/>
              <a:gd name="connsiteY44" fmla="*/ 88360 h 3039687"/>
              <a:gd name="connsiteX45" fmla="*/ 626397 w 2857340"/>
              <a:gd name="connsiteY45" fmla="*/ 563 h 3039687"/>
              <a:gd name="connsiteX46" fmla="*/ 0 w 2857340"/>
              <a:gd name="connsiteY46" fmla="*/ 563 h 3039687"/>
              <a:gd name="connsiteX47" fmla="*/ 141263 w 2857340"/>
              <a:gd name="connsiteY47" fmla="*/ 418724 h 303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857340" h="3039687">
                <a:moveTo>
                  <a:pt x="1268553" y="1741306"/>
                </a:moveTo>
                <a:lnTo>
                  <a:pt x="925245" y="1665328"/>
                </a:lnTo>
                <a:cubicBezTo>
                  <a:pt x="889225" y="1657449"/>
                  <a:pt x="866713" y="1621992"/>
                  <a:pt x="874593" y="1586536"/>
                </a:cubicBezTo>
                <a:cubicBezTo>
                  <a:pt x="882472" y="1550517"/>
                  <a:pt x="917928" y="1528005"/>
                  <a:pt x="953385" y="1535884"/>
                </a:cubicBezTo>
                <a:lnTo>
                  <a:pt x="1231971" y="1597229"/>
                </a:lnTo>
                <a:lnTo>
                  <a:pt x="1293317" y="1318643"/>
                </a:lnTo>
                <a:cubicBezTo>
                  <a:pt x="1301196" y="1282623"/>
                  <a:pt x="1336652" y="1260111"/>
                  <a:pt x="1372109" y="1267991"/>
                </a:cubicBezTo>
                <a:cubicBezTo>
                  <a:pt x="1408128" y="1275870"/>
                  <a:pt x="1430640" y="1311326"/>
                  <a:pt x="1422761" y="1346783"/>
                </a:cubicBezTo>
                <a:lnTo>
                  <a:pt x="1346783" y="1690091"/>
                </a:lnTo>
                <a:cubicBezTo>
                  <a:pt x="1342843" y="1708101"/>
                  <a:pt x="1332150" y="1722734"/>
                  <a:pt x="1317517" y="1731739"/>
                </a:cubicBezTo>
                <a:cubicBezTo>
                  <a:pt x="1302884" y="1740743"/>
                  <a:pt x="1286000" y="1745246"/>
                  <a:pt x="1268553" y="1741306"/>
                </a:cubicBezTo>
                <a:close/>
                <a:moveTo>
                  <a:pt x="1093522" y="1929282"/>
                </a:moveTo>
                <a:lnTo>
                  <a:pt x="1436831" y="2005260"/>
                </a:lnTo>
                <a:cubicBezTo>
                  <a:pt x="1454840" y="2009199"/>
                  <a:pt x="1472287" y="2005260"/>
                  <a:pt x="1486920" y="1996255"/>
                </a:cubicBezTo>
                <a:cubicBezTo>
                  <a:pt x="1500990" y="1987250"/>
                  <a:pt x="1512246" y="1972617"/>
                  <a:pt x="1516186" y="1954608"/>
                </a:cubicBezTo>
                <a:lnTo>
                  <a:pt x="1592164" y="1611299"/>
                </a:lnTo>
                <a:cubicBezTo>
                  <a:pt x="1600043" y="1575280"/>
                  <a:pt x="1577531" y="1540386"/>
                  <a:pt x="1541512" y="1532507"/>
                </a:cubicBezTo>
                <a:cubicBezTo>
                  <a:pt x="1505492" y="1524628"/>
                  <a:pt x="1470599" y="1547140"/>
                  <a:pt x="1462720" y="1583159"/>
                </a:cubicBezTo>
                <a:lnTo>
                  <a:pt x="1401374" y="1861745"/>
                </a:lnTo>
                <a:lnTo>
                  <a:pt x="1122788" y="1800400"/>
                </a:lnTo>
                <a:cubicBezTo>
                  <a:pt x="1086769" y="1792521"/>
                  <a:pt x="1051875" y="1815033"/>
                  <a:pt x="1043996" y="1851052"/>
                </a:cubicBezTo>
                <a:cubicBezTo>
                  <a:pt x="1034991" y="1885946"/>
                  <a:pt x="1057503" y="1921402"/>
                  <a:pt x="1093522" y="1929282"/>
                </a:cubicBezTo>
                <a:close/>
                <a:moveTo>
                  <a:pt x="1851615" y="646096"/>
                </a:moveTo>
                <a:cubicBezTo>
                  <a:pt x="1760441" y="501456"/>
                  <a:pt x="1569089" y="458683"/>
                  <a:pt x="1424449" y="549857"/>
                </a:cubicBezTo>
                <a:cubicBezTo>
                  <a:pt x="1279809" y="641030"/>
                  <a:pt x="1237036" y="832383"/>
                  <a:pt x="1328210" y="977022"/>
                </a:cubicBezTo>
                <a:lnTo>
                  <a:pt x="2631094" y="3039125"/>
                </a:lnTo>
                <a:lnTo>
                  <a:pt x="2856778" y="3039125"/>
                </a:lnTo>
                <a:lnTo>
                  <a:pt x="2856778" y="2237134"/>
                </a:lnTo>
                <a:lnTo>
                  <a:pt x="1851615" y="646096"/>
                </a:lnTo>
                <a:close/>
                <a:moveTo>
                  <a:pt x="2080112" y="2328308"/>
                </a:moveTo>
                <a:cubicBezTo>
                  <a:pt x="1988938" y="2183668"/>
                  <a:pt x="1797586" y="2140895"/>
                  <a:pt x="1652946" y="2232069"/>
                </a:cubicBezTo>
                <a:cubicBezTo>
                  <a:pt x="1508307" y="2323242"/>
                  <a:pt x="1465534" y="2514595"/>
                  <a:pt x="1556707" y="2659235"/>
                </a:cubicBezTo>
                <a:lnTo>
                  <a:pt x="1797023" y="3039688"/>
                </a:lnTo>
                <a:lnTo>
                  <a:pt x="2529227" y="3039688"/>
                </a:lnTo>
                <a:lnTo>
                  <a:pt x="2080112" y="2328308"/>
                </a:lnTo>
                <a:close/>
                <a:moveTo>
                  <a:pt x="1546014" y="0"/>
                </a:moveTo>
                <a:lnTo>
                  <a:pt x="2857340" y="2075047"/>
                </a:lnTo>
                <a:lnTo>
                  <a:pt x="2857340" y="915677"/>
                </a:lnTo>
                <a:lnTo>
                  <a:pt x="2278218" y="0"/>
                </a:lnTo>
                <a:lnTo>
                  <a:pt x="1546014" y="0"/>
                </a:lnTo>
                <a:close/>
                <a:moveTo>
                  <a:pt x="141263" y="418724"/>
                </a:moveTo>
                <a:lnTo>
                  <a:pt x="562801" y="1085643"/>
                </a:lnTo>
                <a:cubicBezTo>
                  <a:pt x="653975" y="1230283"/>
                  <a:pt x="845327" y="1273056"/>
                  <a:pt x="989967" y="1181882"/>
                </a:cubicBezTo>
                <a:cubicBezTo>
                  <a:pt x="1134607" y="1090708"/>
                  <a:pt x="1177380" y="899356"/>
                  <a:pt x="1086206" y="754716"/>
                </a:cubicBezTo>
                <a:lnTo>
                  <a:pt x="664668" y="88360"/>
                </a:lnTo>
                <a:cubicBezTo>
                  <a:pt x="647221" y="60783"/>
                  <a:pt x="634839" y="31517"/>
                  <a:pt x="626397" y="563"/>
                </a:cubicBezTo>
                <a:lnTo>
                  <a:pt x="0" y="563"/>
                </a:lnTo>
                <a:cubicBezTo>
                  <a:pt x="12944" y="148017"/>
                  <a:pt x="60220" y="290405"/>
                  <a:pt x="141263" y="418724"/>
                </a:cubicBezTo>
                <a:close/>
              </a:path>
            </a:pathLst>
          </a:custGeom>
          <a:blipFill>
            <a:blip r:embed="rId2"/>
            <a:stretch>
              <a:fillRect l="-34384" t="242" r="-33392" b="-11556"/>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17150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7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5" name="Graphic 13">
            <a:extLst>
              <a:ext uri="{FF2B5EF4-FFF2-40B4-BE49-F238E27FC236}">
                <a16:creationId xmlns:a16="http://schemas.microsoft.com/office/drawing/2014/main" id="{98BFA905-8E15-49A7-7EB6-8443BEEECF2D}"/>
              </a:ext>
            </a:extLst>
          </p:cNvPr>
          <p:cNvSpPr/>
          <p:nvPr/>
        </p:nvSpPr>
        <p:spPr>
          <a:xfrm>
            <a:off x="5333987" y="-1"/>
            <a:ext cx="6858011" cy="6857999"/>
          </a:xfrm>
          <a:custGeom>
            <a:avLst/>
            <a:gdLst>
              <a:gd name="connsiteX0" fmla="*/ 3039130 w 3039129"/>
              <a:gd name="connsiteY0" fmla="*/ 0 h 3039124"/>
              <a:gd name="connsiteX1" fmla="*/ 1132924 w 3039129"/>
              <a:gd name="connsiteY1" fmla="*/ 0 h 3039124"/>
              <a:gd name="connsiteX2" fmla="*/ 125510 w 3039129"/>
              <a:gd name="connsiteY2" fmla="*/ 1175128 h 3039124"/>
              <a:gd name="connsiteX3" fmla="*/ 6 w 3039129"/>
              <a:gd name="connsiteY3" fmla="*/ 1515060 h 3039124"/>
              <a:gd name="connsiteX4" fmla="*/ 122696 w 3039129"/>
              <a:gd name="connsiteY4" fmla="*/ 1856117 h 3039124"/>
              <a:gd name="connsiteX5" fmla="*/ 1114351 w 3039129"/>
              <a:gd name="connsiteY5" fmla="*/ 3039124 h 3039124"/>
              <a:gd name="connsiteX6" fmla="*/ 3039130 w 3039129"/>
              <a:gd name="connsiteY6" fmla="*/ 3039124 h 3039124"/>
              <a:gd name="connsiteX7" fmla="*/ 3039130 w 3039129"/>
              <a:gd name="connsiteY7" fmla="*/ 0 h 303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9129" h="3039124">
                <a:moveTo>
                  <a:pt x="3039130" y="0"/>
                </a:moveTo>
                <a:lnTo>
                  <a:pt x="1132924" y="0"/>
                </a:lnTo>
                <a:lnTo>
                  <a:pt x="125510" y="1175128"/>
                </a:lnTo>
                <a:cubicBezTo>
                  <a:pt x="42779" y="1269116"/>
                  <a:pt x="569" y="1391806"/>
                  <a:pt x="6" y="1515060"/>
                </a:cubicBezTo>
                <a:cubicBezTo>
                  <a:pt x="-557" y="1638313"/>
                  <a:pt x="40527" y="1761566"/>
                  <a:pt x="122696" y="1856117"/>
                </a:cubicBezTo>
                <a:lnTo>
                  <a:pt x="1114351" y="3039124"/>
                </a:lnTo>
                <a:lnTo>
                  <a:pt x="3039130" y="3039124"/>
                </a:lnTo>
                <a:lnTo>
                  <a:pt x="3039130" y="0"/>
                </a:lnTo>
                <a:close/>
              </a:path>
            </a:pathLst>
          </a:custGeom>
          <a:blipFill>
            <a:blip r:embed="rId2"/>
            <a:srcRect/>
            <a:stretch>
              <a:fillRect l="-38356" r="-26690"/>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1463252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8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3" name="Freeform: Shape 2">
            <a:extLst>
              <a:ext uri="{FF2B5EF4-FFF2-40B4-BE49-F238E27FC236}">
                <a16:creationId xmlns:a16="http://schemas.microsoft.com/office/drawing/2014/main" id="{A618FCD3-E7AF-295B-9AEC-6E1B0FB821A0}"/>
              </a:ext>
            </a:extLst>
          </p:cNvPr>
          <p:cNvSpPr/>
          <p:nvPr userDrawn="1"/>
        </p:nvSpPr>
        <p:spPr>
          <a:xfrm>
            <a:off x="5356227" y="0"/>
            <a:ext cx="6835773" cy="6858000"/>
          </a:xfrm>
          <a:custGeom>
            <a:avLst/>
            <a:gdLst>
              <a:gd name="connsiteX0" fmla="*/ 3024659 w 3025969"/>
              <a:gd name="connsiteY0" fmla="*/ 2430288 h 3035808"/>
              <a:gd name="connsiteX1" fmla="*/ 3024659 w 3025969"/>
              <a:gd name="connsiteY1" fmla="*/ -1226 h 3035808"/>
              <a:gd name="connsiteX2" fmla="*/ 2073158 w 3025969"/>
              <a:gd name="connsiteY2" fmla="*/ -1226 h 3035808"/>
              <a:gd name="connsiteX3" fmla="*/ 237899 w 3025969"/>
              <a:gd name="connsiteY3" fmla="*/ 2341125 h 3035808"/>
              <a:gd name="connsiteX4" fmla="*/ -1311 w 3025969"/>
              <a:gd name="connsiteY4" fmla="*/ 3034582 h 3035808"/>
              <a:gd name="connsiteX5" fmla="*/ 2551016 w 3025969"/>
              <a:gd name="connsiteY5" fmla="*/ 3034582 h 303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5969" h="3035808">
                <a:moveTo>
                  <a:pt x="3024659" y="2430288"/>
                </a:moveTo>
                <a:lnTo>
                  <a:pt x="3024659" y="-1226"/>
                </a:lnTo>
                <a:lnTo>
                  <a:pt x="2073158" y="-1226"/>
                </a:lnTo>
                <a:lnTo>
                  <a:pt x="237899" y="2341125"/>
                </a:lnTo>
                <a:cubicBezTo>
                  <a:pt x="82848" y="2539015"/>
                  <a:pt x="-1367" y="2783173"/>
                  <a:pt x="-1311" y="3034582"/>
                </a:cubicBezTo>
                <a:lnTo>
                  <a:pt x="2551016" y="3034582"/>
                </a:lnTo>
                <a:close/>
              </a:path>
            </a:pathLst>
          </a:custGeom>
          <a:blipFill>
            <a:blip r:embed="rId2"/>
            <a:stretch>
              <a:fillRect l="-14986" t="319" r="-26240" b="-150"/>
            </a:stretch>
          </a:blipFill>
          <a:ln w="560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337658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1" y="0"/>
            <a:ext cx="4787900" cy="6858000"/>
          </a:xfrm>
          <a:prstGeom prst="rect">
            <a:avLst/>
          </a:prstGeom>
        </p:spPr>
      </p:pic>
      <p:sp>
        <p:nvSpPr>
          <p:cNvPr id="5" name="Rectangle 4">
            <a:extLst>
              <a:ext uri="{FF2B5EF4-FFF2-40B4-BE49-F238E27FC236}">
                <a16:creationId xmlns:a16="http://schemas.microsoft.com/office/drawing/2014/main" id="{377200BA-B594-4077-A868-9B5ED7580509}"/>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05031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DE66EEB-13CC-4913-982C-C0CC03F2E5E6}"/>
              </a:ext>
            </a:extLst>
          </p:cNvPr>
          <p:cNvSpPr/>
          <p:nvPr userDrawn="1"/>
        </p:nvSpPr>
        <p:spPr bwMode="auto">
          <a:xfrm>
            <a:off x="445770" y="6275071"/>
            <a:ext cx="2697480" cy="29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0805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6E3F6B-E0B3-4099-911C-5F1D2C920F85}"/>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484739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Rectangle 2">
            <a:extLst>
              <a:ext uri="{FF2B5EF4-FFF2-40B4-BE49-F238E27FC236}">
                <a16:creationId xmlns:a16="http://schemas.microsoft.com/office/drawing/2014/main" id="{DAEBC98B-8A43-41A2-9274-31DFDD434032}"/>
              </a:ext>
            </a:extLst>
          </p:cNvPr>
          <p:cNvSpPr/>
          <p:nvPr userDrawn="1"/>
        </p:nvSpPr>
        <p:spPr bwMode="auto">
          <a:xfrm>
            <a:off x="445770" y="6275071"/>
            <a:ext cx="2697480" cy="2941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2625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8383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036180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4" y="585789"/>
            <a:ext cx="2308795" cy="294139"/>
          </a:xfrm>
          <a:prstGeom prst="rect">
            <a:avLst/>
          </a:prstGeom>
        </p:spPr>
      </p:pic>
      <p:sp>
        <p:nvSpPr>
          <p:cNvPr id="3" name="Rectangle 2">
            <a:extLst>
              <a:ext uri="{FF2B5EF4-FFF2-40B4-BE49-F238E27FC236}">
                <a16:creationId xmlns:a16="http://schemas.microsoft.com/office/drawing/2014/main" id="{0E780C73-45B6-45A1-B67A-4CFC0D3DB53A}"/>
              </a:ext>
            </a:extLst>
          </p:cNvPr>
          <p:cNvSpPr/>
          <p:nvPr userDrawn="1"/>
        </p:nvSpPr>
        <p:spPr bwMode="auto">
          <a:xfrm>
            <a:off x="387275" y="6269039"/>
            <a:ext cx="2796989" cy="29413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308385"/>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753151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59494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1/29/2024</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1400431766"/>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021"/>
            <a:ext cx="11306469" cy="40395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2"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3702978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9375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12019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812502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446989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05797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0174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139258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32557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117965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38833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219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34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368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9679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530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784634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solidFill>
                  <a:schemeClr val="accent1"/>
                </a:solidFill>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85715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76692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96244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23152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141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3385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63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215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solidFill>
                  <a:schemeClr val="accent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34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05213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0690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7453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047716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25435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49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98738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1105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87595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54255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757353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528344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560976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92528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7156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210115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26333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74090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5862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0582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28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84026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75316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5603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89014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687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79114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76537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7">
            <a:extLst>
              <a:ext uri="{FF2B5EF4-FFF2-40B4-BE49-F238E27FC236}">
                <a16:creationId xmlns:a16="http://schemas.microsoft.com/office/drawing/2014/main" id="{53CBCB85-C14E-E1E1-2F77-9161F54A9839}"/>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9">
            <a:extLst>
              <a:ext uri="{FF2B5EF4-FFF2-40B4-BE49-F238E27FC236}">
                <a16:creationId xmlns:a16="http://schemas.microsoft.com/office/drawing/2014/main" id="{08FC501D-276D-BD8E-FE4C-17483C7CC86B}"/>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735859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809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25621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225835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162976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76125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821796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123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45267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657178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67641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78593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60870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9463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6009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1365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3548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2080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428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0228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575305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0667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0273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021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348835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3794719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314878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1126035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15126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407447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68638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372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278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429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38023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5475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08200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272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1552341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47336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742197865"/>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Click to 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10058199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98278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53659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20708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4054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89431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6456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1171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45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5037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016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8735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2084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552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188862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484030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780387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904230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1722411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1694657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619449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25136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131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127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735544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7261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295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391067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303443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2C74-82F4-2A29-889B-EF23CEE6AA4F}"/>
              </a:ext>
            </a:extLst>
          </p:cNvPr>
          <p:cNvSpPr>
            <a:spLocks noGrp="1"/>
          </p:cNvSpPr>
          <p:nvPr>
            <p:ph type="ctrTitle"/>
          </p:nvPr>
        </p:nvSpPr>
        <p:spPr>
          <a:xfrm>
            <a:off x="1066801" y="1122363"/>
            <a:ext cx="6211185" cy="2305246"/>
          </a:xfrm>
        </p:spPr>
        <p:txBody>
          <a:bodyPr anchor="b">
            <a:normAutofit/>
          </a:bodyPr>
          <a:lstStyle>
            <a:lvl1pPr algn="l">
              <a:lnSpc>
                <a:spcPct val="100000"/>
              </a:lnSpc>
              <a:defRPr sz="3600"/>
            </a:lvl1pPr>
          </a:lstStyle>
          <a:p>
            <a:r>
              <a:rPr lang="en-US"/>
              <a:t>Click to edit Master title style</a:t>
            </a:r>
          </a:p>
        </p:txBody>
      </p:sp>
      <p:sp>
        <p:nvSpPr>
          <p:cNvPr id="3" name="Subtitle 2">
            <a:extLst>
              <a:ext uri="{FF2B5EF4-FFF2-40B4-BE49-F238E27FC236}">
                <a16:creationId xmlns:a16="http://schemas.microsoft.com/office/drawing/2014/main" id="{74ACADD6-278F-604C-8A38-BBBAFC6754E8}"/>
              </a:ext>
            </a:extLst>
          </p:cNvPr>
          <p:cNvSpPr>
            <a:spLocks noGrp="1"/>
          </p:cNvSpPr>
          <p:nvPr>
            <p:ph type="subTitle" idx="1"/>
          </p:nvPr>
        </p:nvSpPr>
        <p:spPr>
          <a:xfrm>
            <a:off x="1066802" y="3549048"/>
            <a:ext cx="5029198" cy="195627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reeform: Shape 7">
            <a:extLst>
              <a:ext uri="{FF2B5EF4-FFF2-40B4-BE49-F238E27FC236}">
                <a16:creationId xmlns:a16="http://schemas.microsoft.com/office/drawing/2014/main" id="{B96217D3-0BE9-B9ED-3F51-2706DA6477A4}"/>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1194788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7" name="Freeform: Shape 7">
            <a:extLst>
              <a:ext uri="{FF2B5EF4-FFF2-40B4-BE49-F238E27FC236}">
                <a16:creationId xmlns:a16="http://schemas.microsoft.com/office/drawing/2014/main" id="{D7893EF0-F97A-0F2E-E86F-205B5E47335C}"/>
              </a:ext>
            </a:extLst>
          </p:cNvPr>
          <p:cNvSpPr/>
          <p:nvPr/>
        </p:nvSpPr>
        <p:spPr>
          <a:xfrm>
            <a:off x="6284115" y="3378954"/>
            <a:ext cx="5907885" cy="3479046"/>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Shape 9">
            <a:extLst>
              <a:ext uri="{FF2B5EF4-FFF2-40B4-BE49-F238E27FC236}">
                <a16:creationId xmlns:a16="http://schemas.microsoft.com/office/drawing/2014/main" id="{B7ABCCD9-2495-CFEA-BC26-A26854AEF1BC}"/>
              </a:ext>
            </a:extLst>
          </p:cNvPr>
          <p:cNvSpPr/>
          <p:nvPr/>
        </p:nvSpPr>
        <p:spPr>
          <a:xfrm flipH="1" flipV="1">
            <a:off x="0" y="0"/>
            <a:ext cx="2923855" cy="1479128"/>
          </a:xfrm>
          <a:custGeom>
            <a:avLst/>
            <a:gdLst>
              <a:gd name="connsiteX0" fmla="*/ 2923855 w 2923855"/>
              <a:gd name="connsiteY0" fmla="*/ 1479128 h 1479128"/>
              <a:gd name="connsiteX1" fmla="*/ 0 w 2923855"/>
              <a:gd name="connsiteY1" fmla="*/ 1479128 h 1479128"/>
              <a:gd name="connsiteX2" fmla="*/ 1368245 w 2923855"/>
              <a:gd name="connsiteY2" fmla="*/ 405504 h 1479128"/>
              <a:gd name="connsiteX3" fmla="*/ 1410727 w 2923855"/>
              <a:gd name="connsiteY3" fmla="*/ 373857 h 1479128"/>
              <a:gd name="connsiteX4" fmla="*/ 2503486 w 2923855"/>
              <a:gd name="connsiteY4" fmla="*/ 1756 h 1479128"/>
              <a:gd name="connsiteX5" fmla="*/ 2622568 w 2923855"/>
              <a:gd name="connsiteY5" fmla="*/ 284 h 1479128"/>
              <a:gd name="connsiteX6" fmla="*/ 2785835 w 2923855"/>
              <a:gd name="connsiteY6" fmla="*/ 9494 h 1479128"/>
              <a:gd name="connsiteX7" fmla="*/ 2923855 w 2923855"/>
              <a:gd name="connsiteY7" fmla="*/ 28352 h 147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855" h="1479128">
                <a:moveTo>
                  <a:pt x="2923855" y="1479128"/>
                </a:moveTo>
                <a:lnTo>
                  <a:pt x="0" y="1479128"/>
                </a:lnTo>
                <a:lnTo>
                  <a:pt x="1368245" y="405504"/>
                </a:lnTo>
                <a:lnTo>
                  <a:pt x="1410727" y="373857"/>
                </a:lnTo>
                <a:cubicBezTo>
                  <a:pt x="1742357" y="139664"/>
                  <a:pt x="2122368" y="17528"/>
                  <a:pt x="2503486" y="1756"/>
                </a:cubicBezTo>
                <a:cubicBezTo>
                  <a:pt x="2543187" y="114"/>
                  <a:pt x="2582898" y="-375"/>
                  <a:pt x="2622568" y="284"/>
                </a:cubicBezTo>
                <a:cubicBezTo>
                  <a:pt x="2677115" y="1190"/>
                  <a:pt x="2731584" y="4266"/>
                  <a:pt x="2785835" y="9494"/>
                </a:cubicBezTo>
                <a:lnTo>
                  <a:pt x="2923855" y="28352"/>
                </a:lnTo>
                <a:close/>
              </a:path>
            </a:pathLst>
          </a:custGeom>
          <a:gradFill>
            <a:gsLst>
              <a:gs pos="33000">
                <a:schemeClr val="bg2"/>
              </a:gs>
              <a:gs pos="100000">
                <a:schemeClr val="accent1">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06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504314593"/>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nd da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p:cNvSpPr>
            <a:spLocks noGrp="1"/>
          </p:cNvSpPr>
          <p:nvPr>
            <p:ph type="dt" sz="half" idx="10"/>
          </p:nvPr>
        </p:nvSpPr>
        <p:spPr>
          <a:xfrm>
            <a:off x="7976435" y="6258027"/>
            <a:ext cx="3166024" cy="365125"/>
          </a:xfrm>
          <a:prstGeom prst="rect">
            <a:avLst/>
          </a:prstGeom>
        </p:spPr>
        <p:txBody>
          <a:bodyPr/>
          <a:lstStyle/>
          <a:p>
            <a:fld id="{846CE7D5-CF57-46EF-B807-FDD0502418D4}" type="datetimeFigureOut">
              <a:rPr lang="en-US" smtClean="0"/>
              <a:t>1/29/2024</a:t>
            </a:fld>
            <a:endParaRPr lang="en-US"/>
          </a:p>
        </p:txBody>
      </p:sp>
      <p:sp>
        <p:nvSpPr>
          <p:cNvPr id="4" name="Slide Number Placeholder 3"/>
          <p:cNvSpPr>
            <a:spLocks noGrp="1"/>
          </p:cNvSpPr>
          <p:nvPr>
            <p:ph type="sldNum" sz="quarter" idx="11"/>
          </p:nvPr>
        </p:nvSpPr>
        <p:spPr/>
        <p:txBody>
          <a:bodyPr/>
          <a:lstStyle/>
          <a:p>
            <a:fld id="{330EA680-D336-4FF7-8B7A-9848BB0A1C32}" type="slidenum">
              <a:rPr lang="en-US" smtClean="0"/>
              <a:t>‹#›</a:t>
            </a:fld>
            <a:endParaRPr lang="en-US"/>
          </a:p>
        </p:txBody>
      </p:sp>
      <p:sp>
        <p:nvSpPr>
          <p:cNvPr id="6" name="Content Placeholder 5"/>
          <p:cNvSpPr>
            <a:spLocks noGrp="1"/>
          </p:cNvSpPr>
          <p:nvPr>
            <p:ph sz="quarter" idx="12"/>
          </p:nvPr>
        </p:nvSpPr>
        <p:spPr>
          <a:xfrm>
            <a:off x="1388534" y="1234441"/>
            <a:ext cx="10193867" cy="430901"/>
          </a:xfrm>
        </p:spPr>
        <p:txBody>
          <a:bodyPr/>
          <a:lstStyle/>
          <a:p>
            <a:pPr lvl="0"/>
            <a:r>
              <a:rPr lang="en-US"/>
              <a:t>Edit Master text styles</a:t>
            </a:r>
          </a:p>
        </p:txBody>
      </p:sp>
      <p:sp>
        <p:nvSpPr>
          <p:cNvPr id="7" name="Text Placeholder 6"/>
          <p:cNvSpPr>
            <a:spLocks noGrp="1"/>
          </p:cNvSpPr>
          <p:nvPr>
            <p:ph type="body" sz="quarter" idx="13" hasCustomPrompt="1"/>
          </p:nvPr>
        </p:nvSpPr>
        <p:spPr>
          <a:xfrm>
            <a:off x="1387956" y="5929143"/>
            <a:ext cx="10193867" cy="228181"/>
          </a:xfrm>
        </p:spPr>
        <p:txBody>
          <a:bodyPr>
            <a:noAutofit/>
          </a:bodyPr>
          <a:lstStyle>
            <a:lvl1pPr>
              <a:defRPr sz="900"/>
            </a:lvl1pPr>
          </a:lstStyle>
          <a:p>
            <a:pPr lvl="0"/>
            <a:r>
              <a:rPr lang="en-US"/>
              <a:t>Source: Information here</a:t>
            </a:r>
          </a:p>
        </p:txBody>
      </p:sp>
    </p:spTree>
    <p:extLst>
      <p:ext uri="{BB962C8B-B14F-4D97-AF65-F5344CB8AC3E}">
        <p14:creationId xmlns:p14="http://schemas.microsoft.com/office/powerpoint/2010/main" val="24792911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857954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464806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27348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53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86069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64914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49846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910542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399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0515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Rectangle 6">
            <a:extLst>
              <a:ext uri="{FF2B5EF4-FFF2-40B4-BE49-F238E27FC236}">
                <a16:creationId xmlns:a16="http://schemas.microsoft.com/office/drawing/2014/main" id="{C9B633B0-40F9-4729-84DB-771120F5D70D}"/>
              </a:ext>
            </a:extLst>
          </p:cNvPr>
          <p:cNvSpPr/>
          <p:nvPr/>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2B7938B8-F298-4772-A6EC-8F59C02C0B8A}"/>
              </a:ext>
            </a:extLst>
          </p:cNvPr>
          <p:cNvPicPr>
            <a:picLocks noChangeAspect="1"/>
          </p:cNvPicPr>
          <p:nvPr/>
        </p:nvPicPr>
        <p:blipFill>
          <a:blip r:embed="rId2"/>
          <a:stretch>
            <a:fillRect/>
          </a:stretch>
        </p:blipFill>
        <p:spPr>
          <a:xfrm>
            <a:off x="581337" y="585788"/>
            <a:ext cx="2308796" cy="294587"/>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92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884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049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61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2.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84" Type="http://schemas.openxmlformats.org/officeDocument/2006/relationships/slideLayout" Target="../slideLayouts/slideLayout170.xml"/><Relationship Id="rId16" Type="http://schemas.openxmlformats.org/officeDocument/2006/relationships/slideLayout" Target="../slideLayouts/slideLayout102.xml"/><Relationship Id="rId11" Type="http://schemas.openxmlformats.org/officeDocument/2006/relationships/slideLayout" Target="../slideLayouts/slideLayout97.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5" Type="http://schemas.openxmlformats.org/officeDocument/2006/relationships/slideLayout" Target="../slideLayouts/slideLayout91.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theme" Target="../theme/theme2.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76" Type="http://schemas.openxmlformats.org/officeDocument/2006/relationships/slideLayout" Target="../slideLayouts/slideLayout162.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2" Type="http://schemas.openxmlformats.org/officeDocument/2006/relationships/slideLayout" Target="../slideLayouts/slideLayout88.xml"/><Relationship Id="rId29" Type="http://schemas.openxmlformats.org/officeDocument/2006/relationships/slideLayout" Target="../slideLayouts/slideLayout115.xml"/><Relationship Id="rId24" Type="http://schemas.openxmlformats.org/officeDocument/2006/relationships/slideLayout" Target="../slideLayouts/slideLayout110.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66" Type="http://schemas.openxmlformats.org/officeDocument/2006/relationships/slideLayout" Target="../slideLayouts/slideLayout152.xml"/><Relationship Id="rId87" Type="http://schemas.openxmlformats.org/officeDocument/2006/relationships/image" Target="../media/image1.emf"/><Relationship Id="rId61" Type="http://schemas.openxmlformats.org/officeDocument/2006/relationships/slideLayout" Target="../slideLayouts/slideLayout147.xml"/><Relationship Id="rId82" Type="http://schemas.openxmlformats.org/officeDocument/2006/relationships/slideLayout" Target="../slideLayouts/slideLayout16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63" Type="http://schemas.openxmlformats.org/officeDocument/2006/relationships/slideLayout" Target="../slideLayouts/slideLayout234.xml"/><Relationship Id="rId68" Type="http://schemas.openxmlformats.org/officeDocument/2006/relationships/slideLayout" Target="../slideLayouts/slideLayout239.xml"/><Relationship Id="rId7" Type="http://schemas.openxmlformats.org/officeDocument/2006/relationships/slideLayout" Target="../slideLayouts/slideLayout178.xml"/><Relationship Id="rId71" Type="http://schemas.openxmlformats.org/officeDocument/2006/relationships/theme" Target="../theme/theme3.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9" Type="http://schemas.openxmlformats.org/officeDocument/2006/relationships/slideLayout" Target="../slideLayouts/slideLayout200.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66" Type="http://schemas.openxmlformats.org/officeDocument/2006/relationships/slideLayout" Target="../slideLayouts/slideLayout237.xml"/><Relationship Id="rId5" Type="http://schemas.openxmlformats.org/officeDocument/2006/relationships/slideLayout" Target="../slideLayouts/slideLayout176.xml"/><Relationship Id="rId61" Type="http://schemas.openxmlformats.org/officeDocument/2006/relationships/slideLayout" Target="../slideLayouts/slideLayout232.xml"/><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slideLayout" Target="../slideLayouts/slideLayout235.xml"/><Relationship Id="rId69" Type="http://schemas.openxmlformats.org/officeDocument/2006/relationships/slideLayout" Target="../slideLayouts/slideLayout240.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72" Type="http://schemas.openxmlformats.org/officeDocument/2006/relationships/image" Target="../media/image1.emf"/><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slideLayout" Target="../slideLayouts/slideLayout238.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70" Type="http://schemas.openxmlformats.org/officeDocument/2006/relationships/slideLayout" Target="../slideLayouts/slideLayout24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slideLayout" Target="../slideLayouts/slideLayout236.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34" Type="http://schemas.openxmlformats.org/officeDocument/2006/relationships/slideLayout" Target="../slideLayouts/slideLayout205.xml"/><Relationship Id="rId50" Type="http://schemas.openxmlformats.org/officeDocument/2006/relationships/slideLayout" Target="../slideLayouts/slideLayout221.xml"/><Relationship Id="rId55" Type="http://schemas.openxmlformats.org/officeDocument/2006/relationships/slideLayout" Target="../slideLayouts/slideLayout22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67.xml"/><Relationship Id="rId21" Type="http://schemas.openxmlformats.org/officeDocument/2006/relationships/slideLayout" Target="../slideLayouts/slideLayout262.xml"/><Relationship Id="rId42" Type="http://schemas.openxmlformats.org/officeDocument/2006/relationships/slideLayout" Target="../slideLayouts/slideLayout283.xml"/><Relationship Id="rId47" Type="http://schemas.openxmlformats.org/officeDocument/2006/relationships/slideLayout" Target="../slideLayouts/slideLayout288.xml"/><Relationship Id="rId63" Type="http://schemas.openxmlformats.org/officeDocument/2006/relationships/slideLayout" Target="../slideLayouts/slideLayout304.xml"/><Relationship Id="rId68" Type="http://schemas.openxmlformats.org/officeDocument/2006/relationships/slideLayout" Target="../slideLayouts/slideLayout309.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9" Type="http://schemas.openxmlformats.org/officeDocument/2006/relationships/slideLayout" Target="../slideLayouts/slideLayout270.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slideLayout" Target="../slideLayouts/slideLayout281.xml"/><Relationship Id="rId45" Type="http://schemas.openxmlformats.org/officeDocument/2006/relationships/slideLayout" Target="../slideLayouts/slideLayout286.xml"/><Relationship Id="rId53" Type="http://schemas.openxmlformats.org/officeDocument/2006/relationships/slideLayout" Target="../slideLayouts/slideLayout294.xml"/><Relationship Id="rId58" Type="http://schemas.openxmlformats.org/officeDocument/2006/relationships/slideLayout" Target="../slideLayouts/slideLayout299.xml"/><Relationship Id="rId66" Type="http://schemas.openxmlformats.org/officeDocument/2006/relationships/slideLayout" Target="../slideLayouts/slideLayout307.xml"/><Relationship Id="rId74" Type="http://schemas.openxmlformats.org/officeDocument/2006/relationships/theme" Target="../theme/theme4.xml"/><Relationship Id="rId5" Type="http://schemas.openxmlformats.org/officeDocument/2006/relationships/slideLayout" Target="../slideLayouts/slideLayout246.xml"/><Relationship Id="rId61" Type="http://schemas.openxmlformats.org/officeDocument/2006/relationships/slideLayout" Target="../slideLayouts/slideLayout302.xml"/><Relationship Id="rId19" Type="http://schemas.openxmlformats.org/officeDocument/2006/relationships/slideLayout" Target="../slideLayouts/slideLayout26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43" Type="http://schemas.openxmlformats.org/officeDocument/2006/relationships/slideLayout" Target="../slideLayouts/slideLayout284.xml"/><Relationship Id="rId48" Type="http://schemas.openxmlformats.org/officeDocument/2006/relationships/slideLayout" Target="../slideLayouts/slideLayout289.xml"/><Relationship Id="rId56" Type="http://schemas.openxmlformats.org/officeDocument/2006/relationships/slideLayout" Target="../slideLayouts/slideLayout297.xml"/><Relationship Id="rId64" Type="http://schemas.openxmlformats.org/officeDocument/2006/relationships/slideLayout" Target="../slideLayouts/slideLayout305.xml"/><Relationship Id="rId69" Type="http://schemas.openxmlformats.org/officeDocument/2006/relationships/slideLayout" Target="../slideLayouts/slideLayout310.xml"/><Relationship Id="rId8" Type="http://schemas.openxmlformats.org/officeDocument/2006/relationships/slideLayout" Target="../slideLayouts/slideLayout249.xml"/><Relationship Id="rId51" Type="http://schemas.openxmlformats.org/officeDocument/2006/relationships/slideLayout" Target="../slideLayouts/slideLayout292.xml"/><Relationship Id="rId72" Type="http://schemas.openxmlformats.org/officeDocument/2006/relationships/slideLayout" Target="../slideLayouts/slideLayout313.xml"/><Relationship Id="rId3" Type="http://schemas.openxmlformats.org/officeDocument/2006/relationships/slideLayout" Target="../slideLayouts/slideLayout244.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 Id="rId46" Type="http://schemas.openxmlformats.org/officeDocument/2006/relationships/slideLayout" Target="../slideLayouts/slideLayout287.xml"/><Relationship Id="rId59" Type="http://schemas.openxmlformats.org/officeDocument/2006/relationships/slideLayout" Target="../slideLayouts/slideLayout300.xml"/><Relationship Id="rId67" Type="http://schemas.openxmlformats.org/officeDocument/2006/relationships/slideLayout" Target="../slideLayouts/slideLayout308.xml"/><Relationship Id="rId20" Type="http://schemas.openxmlformats.org/officeDocument/2006/relationships/slideLayout" Target="../slideLayouts/slideLayout261.xml"/><Relationship Id="rId41" Type="http://schemas.openxmlformats.org/officeDocument/2006/relationships/slideLayout" Target="../slideLayouts/slideLayout282.xml"/><Relationship Id="rId54" Type="http://schemas.openxmlformats.org/officeDocument/2006/relationships/slideLayout" Target="../slideLayouts/slideLayout295.xml"/><Relationship Id="rId62" Type="http://schemas.openxmlformats.org/officeDocument/2006/relationships/slideLayout" Target="../slideLayouts/slideLayout303.xml"/><Relationship Id="rId70" Type="http://schemas.openxmlformats.org/officeDocument/2006/relationships/slideLayout" Target="../slideLayouts/slideLayout311.xml"/><Relationship Id="rId75" Type="http://schemas.openxmlformats.org/officeDocument/2006/relationships/image" Target="../media/image1.emf"/><Relationship Id="rId1" Type="http://schemas.openxmlformats.org/officeDocument/2006/relationships/slideLayout" Target="../slideLayouts/slideLayout242.xml"/><Relationship Id="rId6" Type="http://schemas.openxmlformats.org/officeDocument/2006/relationships/slideLayout" Target="../slideLayouts/slideLayout247.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49" Type="http://schemas.openxmlformats.org/officeDocument/2006/relationships/slideLayout" Target="../slideLayouts/slideLayout290.xml"/><Relationship Id="rId57" Type="http://schemas.openxmlformats.org/officeDocument/2006/relationships/slideLayout" Target="../slideLayouts/slideLayout298.xml"/><Relationship Id="rId10" Type="http://schemas.openxmlformats.org/officeDocument/2006/relationships/slideLayout" Target="../slideLayouts/slideLayout251.xml"/><Relationship Id="rId31" Type="http://schemas.openxmlformats.org/officeDocument/2006/relationships/slideLayout" Target="../slideLayouts/slideLayout272.xml"/><Relationship Id="rId44" Type="http://schemas.openxmlformats.org/officeDocument/2006/relationships/slideLayout" Target="../slideLayouts/slideLayout285.xml"/><Relationship Id="rId52" Type="http://schemas.openxmlformats.org/officeDocument/2006/relationships/slideLayout" Target="../slideLayouts/slideLayout293.xml"/><Relationship Id="rId60" Type="http://schemas.openxmlformats.org/officeDocument/2006/relationships/slideLayout" Target="../slideLayouts/slideLayout301.xml"/><Relationship Id="rId65" Type="http://schemas.openxmlformats.org/officeDocument/2006/relationships/slideLayout" Target="../slideLayouts/slideLayout306.xml"/><Relationship Id="rId73" Type="http://schemas.openxmlformats.org/officeDocument/2006/relationships/slideLayout" Target="../slideLayouts/slideLayout314.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9" Type="http://schemas.openxmlformats.org/officeDocument/2006/relationships/slideLayout" Target="../slideLayouts/slideLayout280.xml"/><Relationship Id="rId34" Type="http://schemas.openxmlformats.org/officeDocument/2006/relationships/slideLayout" Target="../slideLayouts/slideLayout275.xml"/><Relationship Id="rId50" Type="http://schemas.openxmlformats.org/officeDocument/2006/relationships/slideLayout" Target="../slideLayouts/slideLayout291.xml"/><Relationship Id="rId55" Type="http://schemas.openxmlformats.org/officeDocument/2006/relationships/slideLayout" Target="../slideLayouts/slideLayout296.xml"/><Relationship Id="rId7" Type="http://schemas.openxmlformats.org/officeDocument/2006/relationships/slideLayout" Target="../slideLayouts/slideLayout248.xml"/><Relationship Id="rId71" Type="http://schemas.openxmlformats.org/officeDocument/2006/relationships/slideLayout" Target="../slideLayouts/slideLayout31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40.xml"/><Relationship Id="rId21" Type="http://schemas.openxmlformats.org/officeDocument/2006/relationships/slideLayout" Target="../slideLayouts/slideLayout335.xml"/><Relationship Id="rId42" Type="http://schemas.openxmlformats.org/officeDocument/2006/relationships/slideLayout" Target="../slideLayouts/slideLayout356.xml"/><Relationship Id="rId47" Type="http://schemas.openxmlformats.org/officeDocument/2006/relationships/slideLayout" Target="../slideLayouts/slideLayout361.xml"/><Relationship Id="rId63" Type="http://schemas.openxmlformats.org/officeDocument/2006/relationships/slideLayout" Target="../slideLayouts/slideLayout377.xml"/><Relationship Id="rId68" Type="http://schemas.openxmlformats.org/officeDocument/2006/relationships/slideLayout" Target="../slideLayouts/slideLayout382.xml"/><Relationship Id="rId84" Type="http://schemas.openxmlformats.org/officeDocument/2006/relationships/slideLayout" Target="../slideLayouts/slideLayout398.xml"/><Relationship Id="rId16" Type="http://schemas.openxmlformats.org/officeDocument/2006/relationships/slideLayout" Target="../slideLayouts/slideLayout330.xml"/><Relationship Id="rId11" Type="http://schemas.openxmlformats.org/officeDocument/2006/relationships/slideLayout" Target="../slideLayouts/slideLayout325.xml"/><Relationship Id="rId32" Type="http://schemas.openxmlformats.org/officeDocument/2006/relationships/slideLayout" Target="../slideLayouts/slideLayout346.xml"/><Relationship Id="rId37" Type="http://schemas.openxmlformats.org/officeDocument/2006/relationships/slideLayout" Target="../slideLayouts/slideLayout351.xml"/><Relationship Id="rId53" Type="http://schemas.openxmlformats.org/officeDocument/2006/relationships/slideLayout" Target="../slideLayouts/slideLayout367.xml"/><Relationship Id="rId58" Type="http://schemas.openxmlformats.org/officeDocument/2006/relationships/slideLayout" Target="../slideLayouts/slideLayout372.xml"/><Relationship Id="rId74" Type="http://schemas.openxmlformats.org/officeDocument/2006/relationships/slideLayout" Target="../slideLayouts/slideLayout388.xml"/><Relationship Id="rId79" Type="http://schemas.openxmlformats.org/officeDocument/2006/relationships/slideLayout" Target="../slideLayouts/slideLayout393.xml"/><Relationship Id="rId5" Type="http://schemas.openxmlformats.org/officeDocument/2006/relationships/slideLayout" Target="../slideLayouts/slideLayout319.xml"/><Relationship Id="rId19" Type="http://schemas.openxmlformats.org/officeDocument/2006/relationships/slideLayout" Target="../slideLayouts/slideLayout333.xml"/><Relationship Id="rId14" Type="http://schemas.openxmlformats.org/officeDocument/2006/relationships/slideLayout" Target="../slideLayouts/slideLayout328.xml"/><Relationship Id="rId22" Type="http://schemas.openxmlformats.org/officeDocument/2006/relationships/slideLayout" Target="../slideLayouts/slideLayout336.xml"/><Relationship Id="rId27" Type="http://schemas.openxmlformats.org/officeDocument/2006/relationships/slideLayout" Target="../slideLayouts/slideLayout341.xml"/><Relationship Id="rId30" Type="http://schemas.openxmlformats.org/officeDocument/2006/relationships/slideLayout" Target="../slideLayouts/slideLayout344.xml"/><Relationship Id="rId35" Type="http://schemas.openxmlformats.org/officeDocument/2006/relationships/slideLayout" Target="../slideLayouts/slideLayout349.xml"/><Relationship Id="rId43" Type="http://schemas.openxmlformats.org/officeDocument/2006/relationships/slideLayout" Target="../slideLayouts/slideLayout357.xml"/><Relationship Id="rId48" Type="http://schemas.openxmlformats.org/officeDocument/2006/relationships/slideLayout" Target="../slideLayouts/slideLayout362.xml"/><Relationship Id="rId56" Type="http://schemas.openxmlformats.org/officeDocument/2006/relationships/slideLayout" Target="../slideLayouts/slideLayout370.xml"/><Relationship Id="rId64" Type="http://schemas.openxmlformats.org/officeDocument/2006/relationships/slideLayout" Target="../slideLayouts/slideLayout378.xml"/><Relationship Id="rId69" Type="http://schemas.openxmlformats.org/officeDocument/2006/relationships/slideLayout" Target="../slideLayouts/slideLayout383.xml"/><Relationship Id="rId77" Type="http://schemas.openxmlformats.org/officeDocument/2006/relationships/slideLayout" Target="../slideLayouts/slideLayout391.xml"/><Relationship Id="rId8" Type="http://schemas.openxmlformats.org/officeDocument/2006/relationships/slideLayout" Target="../slideLayouts/slideLayout322.xml"/><Relationship Id="rId51" Type="http://schemas.openxmlformats.org/officeDocument/2006/relationships/slideLayout" Target="../slideLayouts/slideLayout365.xml"/><Relationship Id="rId72" Type="http://schemas.openxmlformats.org/officeDocument/2006/relationships/slideLayout" Target="../slideLayouts/slideLayout386.xml"/><Relationship Id="rId80" Type="http://schemas.openxmlformats.org/officeDocument/2006/relationships/slideLayout" Target="../slideLayouts/slideLayout394.xml"/><Relationship Id="rId85" Type="http://schemas.openxmlformats.org/officeDocument/2006/relationships/slideLayout" Target="../slideLayouts/slideLayout399.xml"/><Relationship Id="rId3" Type="http://schemas.openxmlformats.org/officeDocument/2006/relationships/slideLayout" Target="../slideLayouts/slideLayout317.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5" Type="http://schemas.openxmlformats.org/officeDocument/2006/relationships/slideLayout" Target="../slideLayouts/slideLayout339.xml"/><Relationship Id="rId33" Type="http://schemas.openxmlformats.org/officeDocument/2006/relationships/slideLayout" Target="../slideLayouts/slideLayout347.xml"/><Relationship Id="rId38" Type="http://schemas.openxmlformats.org/officeDocument/2006/relationships/slideLayout" Target="../slideLayouts/slideLayout352.xml"/><Relationship Id="rId46" Type="http://schemas.openxmlformats.org/officeDocument/2006/relationships/slideLayout" Target="../slideLayouts/slideLayout360.xml"/><Relationship Id="rId59" Type="http://schemas.openxmlformats.org/officeDocument/2006/relationships/slideLayout" Target="../slideLayouts/slideLayout373.xml"/><Relationship Id="rId67" Type="http://schemas.openxmlformats.org/officeDocument/2006/relationships/slideLayout" Target="../slideLayouts/slideLayout381.xml"/><Relationship Id="rId20" Type="http://schemas.openxmlformats.org/officeDocument/2006/relationships/slideLayout" Target="../slideLayouts/slideLayout334.xml"/><Relationship Id="rId41" Type="http://schemas.openxmlformats.org/officeDocument/2006/relationships/slideLayout" Target="../slideLayouts/slideLayout355.xml"/><Relationship Id="rId54" Type="http://schemas.openxmlformats.org/officeDocument/2006/relationships/slideLayout" Target="../slideLayouts/slideLayout368.xml"/><Relationship Id="rId62" Type="http://schemas.openxmlformats.org/officeDocument/2006/relationships/slideLayout" Target="../slideLayouts/slideLayout376.xml"/><Relationship Id="rId70" Type="http://schemas.openxmlformats.org/officeDocument/2006/relationships/slideLayout" Target="../slideLayouts/slideLayout384.xml"/><Relationship Id="rId75" Type="http://schemas.openxmlformats.org/officeDocument/2006/relationships/slideLayout" Target="../slideLayouts/slideLayout389.xml"/><Relationship Id="rId83" Type="http://schemas.openxmlformats.org/officeDocument/2006/relationships/slideLayout" Target="../slideLayouts/slideLayout3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5" Type="http://schemas.openxmlformats.org/officeDocument/2006/relationships/slideLayout" Target="../slideLayouts/slideLayout329.xml"/><Relationship Id="rId23" Type="http://schemas.openxmlformats.org/officeDocument/2006/relationships/slideLayout" Target="../slideLayouts/slideLayout337.xml"/><Relationship Id="rId28" Type="http://schemas.openxmlformats.org/officeDocument/2006/relationships/slideLayout" Target="../slideLayouts/slideLayout342.xml"/><Relationship Id="rId36" Type="http://schemas.openxmlformats.org/officeDocument/2006/relationships/slideLayout" Target="../slideLayouts/slideLayout350.xml"/><Relationship Id="rId49" Type="http://schemas.openxmlformats.org/officeDocument/2006/relationships/slideLayout" Target="../slideLayouts/slideLayout363.xml"/><Relationship Id="rId57" Type="http://schemas.openxmlformats.org/officeDocument/2006/relationships/slideLayout" Target="../slideLayouts/slideLayout371.xml"/><Relationship Id="rId10" Type="http://schemas.openxmlformats.org/officeDocument/2006/relationships/slideLayout" Target="../slideLayouts/slideLayout324.xml"/><Relationship Id="rId31" Type="http://schemas.openxmlformats.org/officeDocument/2006/relationships/slideLayout" Target="../slideLayouts/slideLayout345.xml"/><Relationship Id="rId44" Type="http://schemas.openxmlformats.org/officeDocument/2006/relationships/slideLayout" Target="../slideLayouts/slideLayout358.xml"/><Relationship Id="rId52" Type="http://schemas.openxmlformats.org/officeDocument/2006/relationships/slideLayout" Target="../slideLayouts/slideLayout366.xml"/><Relationship Id="rId60" Type="http://schemas.openxmlformats.org/officeDocument/2006/relationships/slideLayout" Target="../slideLayouts/slideLayout374.xml"/><Relationship Id="rId65" Type="http://schemas.openxmlformats.org/officeDocument/2006/relationships/slideLayout" Target="../slideLayouts/slideLayout379.xml"/><Relationship Id="rId73" Type="http://schemas.openxmlformats.org/officeDocument/2006/relationships/slideLayout" Target="../slideLayouts/slideLayout387.xml"/><Relationship Id="rId78" Type="http://schemas.openxmlformats.org/officeDocument/2006/relationships/slideLayout" Target="../slideLayouts/slideLayout392.xml"/><Relationship Id="rId81" Type="http://schemas.openxmlformats.org/officeDocument/2006/relationships/slideLayout" Target="../slideLayouts/slideLayout395.xml"/><Relationship Id="rId86" Type="http://schemas.openxmlformats.org/officeDocument/2006/relationships/theme" Target="../theme/theme5.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9" Type="http://schemas.openxmlformats.org/officeDocument/2006/relationships/slideLayout" Target="../slideLayouts/slideLayout353.xml"/><Relationship Id="rId34" Type="http://schemas.openxmlformats.org/officeDocument/2006/relationships/slideLayout" Target="../slideLayouts/slideLayout348.xml"/><Relationship Id="rId50" Type="http://schemas.openxmlformats.org/officeDocument/2006/relationships/slideLayout" Target="../slideLayouts/slideLayout364.xml"/><Relationship Id="rId55" Type="http://schemas.openxmlformats.org/officeDocument/2006/relationships/slideLayout" Target="../slideLayouts/slideLayout369.xml"/><Relationship Id="rId76" Type="http://schemas.openxmlformats.org/officeDocument/2006/relationships/slideLayout" Target="../slideLayouts/slideLayout390.xml"/><Relationship Id="rId7" Type="http://schemas.openxmlformats.org/officeDocument/2006/relationships/slideLayout" Target="../slideLayouts/slideLayout321.xml"/><Relationship Id="rId71" Type="http://schemas.openxmlformats.org/officeDocument/2006/relationships/slideLayout" Target="../slideLayouts/slideLayout385.xml"/><Relationship Id="rId2" Type="http://schemas.openxmlformats.org/officeDocument/2006/relationships/slideLayout" Target="../slideLayouts/slideLayout316.xml"/><Relationship Id="rId29" Type="http://schemas.openxmlformats.org/officeDocument/2006/relationships/slideLayout" Target="../slideLayouts/slideLayout343.xml"/><Relationship Id="rId24" Type="http://schemas.openxmlformats.org/officeDocument/2006/relationships/slideLayout" Target="../slideLayouts/slideLayout338.xml"/><Relationship Id="rId40" Type="http://schemas.openxmlformats.org/officeDocument/2006/relationships/slideLayout" Target="../slideLayouts/slideLayout354.xml"/><Relationship Id="rId45" Type="http://schemas.openxmlformats.org/officeDocument/2006/relationships/slideLayout" Target="../slideLayouts/slideLayout359.xml"/><Relationship Id="rId66" Type="http://schemas.openxmlformats.org/officeDocument/2006/relationships/slideLayout" Target="../slideLayouts/slideLayout380.xml"/><Relationship Id="rId87" Type="http://schemas.openxmlformats.org/officeDocument/2006/relationships/image" Target="../media/image1.emf"/><Relationship Id="rId61" Type="http://schemas.openxmlformats.org/officeDocument/2006/relationships/slideLayout" Target="../slideLayouts/slideLayout375.xml"/><Relationship Id="rId82" Type="http://schemas.openxmlformats.org/officeDocument/2006/relationships/slideLayout" Target="../slideLayouts/slideLayout396.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425.xml"/><Relationship Id="rId21" Type="http://schemas.openxmlformats.org/officeDocument/2006/relationships/slideLayout" Target="../slideLayouts/slideLayout420.xml"/><Relationship Id="rId42" Type="http://schemas.openxmlformats.org/officeDocument/2006/relationships/slideLayout" Target="../slideLayouts/slideLayout441.xml"/><Relationship Id="rId47" Type="http://schemas.openxmlformats.org/officeDocument/2006/relationships/slideLayout" Target="../slideLayouts/slideLayout446.xml"/><Relationship Id="rId63" Type="http://schemas.openxmlformats.org/officeDocument/2006/relationships/slideLayout" Target="../slideLayouts/slideLayout462.xml"/><Relationship Id="rId68" Type="http://schemas.openxmlformats.org/officeDocument/2006/relationships/slideLayout" Target="../slideLayouts/slideLayout467.xml"/><Relationship Id="rId84" Type="http://schemas.openxmlformats.org/officeDocument/2006/relationships/slideLayout" Target="../slideLayouts/slideLayout483.xml"/><Relationship Id="rId89" Type="http://schemas.openxmlformats.org/officeDocument/2006/relationships/slideLayout" Target="../slideLayouts/slideLayout488.xml"/><Relationship Id="rId16" Type="http://schemas.openxmlformats.org/officeDocument/2006/relationships/slideLayout" Target="../slideLayouts/slideLayout415.xml"/><Relationship Id="rId11" Type="http://schemas.openxmlformats.org/officeDocument/2006/relationships/slideLayout" Target="../slideLayouts/slideLayout410.xml"/><Relationship Id="rId32" Type="http://schemas.openxmlformats.org/officeDocument/2006/relationships/slideLayout" Target="../slideLayouts/slideLayout431.xml"/><Relationship Id="rId37" Type="http://schemas.openxmlformats.org/officeDocument/2006/relationships/slideLayout" Target="../slideLayouts/slideLayout436.xml"/><Relationship Id="rId53" Type="http://schemas.openxmlformats.org/officeDocument/2006/relationships/slideLayout" Target="../slideLayouts/slideLayout452.xml"/><Relationship Id="rId58" Type="http://schemas.openxmlformats.org/officeDocument/2006/relationships/slideLayout" Target="../slideLayouts/slideLayout457.xml"/><Relationship Id="rId74" Type="http://schemas.openxmlformats.org/officeDocument/2006/relationships/slideLayout" Target="../slideLayouts/slideLayout473.xml"/><Relationship Id="rId79" Type="http://schemas.openxmlformats.org/officeDocument/2006/relationships/slideLayout" Target="../slideLayouts/slideLayout478.xml"/><Relationship Id="rId5" Type="http://schemas.openxmlformats.org/officeDocument/2006/relationships/slideLayout" Target="../slideLayouts/slideLayout404.xml"/><Relationship Id="rId90" Type="http://schemas.openxmlformats.org/officeDocument/2006/relationships/slideLayout" Target="../slideLayouts/slideLayout489.xml"/><Relationship Id="rId95" Type="http://schemas.openxmlformats.org/officeDocument/2006/relationships/theme" Target="../theme/theme6.xml"/><Relationship Id="rId22" Type="http://schemas.openxmlformats.org/officeDocument/2006/relationships/slideLayout" Target="../slideLayouts/slideLayout421.xml"/><Relationship Id="rId27" Type="http://schemas.openxmlformats.org/officeDocument/2006/relationships/slideLayout" Target="../slideLayouts/slideLayout426.xml"/><Relationship Id="rId43" Type="http://schemas.openxmlformats.org/officeDocument/2006/relationships/slideLayout" Target="../slideLayouts/slideLayout442.xml"/><Relationship Id="rId48" Type="http://schemas.openxmlformats.org/officeDocument/2006/relationships/slideLayout" Target="../slideLayouts/slideLayout447.xml"/><Relationship Id="rId64" Type="http://schemas.openxmlformats.org/officeDocument/2006/relationships/slideLayout" Target="../slideLayouts/slideLayout463.xml"/><Relationship Id="rId69" Type="http://schemas.openxmlformats.org/officeDocument/2006/relationships/slideLayout" Target="../slideLayouts/slideLayout468.xml"/><Relationship Id="rId8" Type="http://schemas.openxmlformats.org/officeDocument/2006/relationships/slideLayout" Target="../slideLayouts/slideLayout407.xml"/><Relationship Id="rId51" Type="http://schemas.openxmlformats.org/officeDocument/2006/relationships/slideLayout" Target="../slideLayouts/slideLayout450.xml"/><Relationship Id="rId72" Type="http://schemas.openxmlformats.org/officeDocument/2006/relationships/slideLayout" Target="../slideLayouts/slideLayout471.xml"/><Relationship Id="rId80" Type="http://schemas.openxmlformats.org/officeDocument/2006/relationships/slideLayout" Target="../slideLayouts/slideLayout479.xml"/><Relationship Id="rId85" Type="http://schemas.openxmlformats.org/officeDocument/2006/relationships/slideLayout" Target="../slideLayouts/slideLayout484.xml"/><Relationship Id="rId93" Type="http://schemas.openxmlformats.org/officeDocument/2006/relationships/slideLayout" Target="../slideLayouts/slideLayout492.xml"/><Relationship Id="rId3" Type="http://schemas.openxmlformats.org/officeDocument/2006/relationships/slideLayout" Target="../slideLayouts/slideLayout402.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33" Type="http://schemas.openxmlformats.org/officeDocument/2006/relationships/slideLayout" Target="../slideLayouts/slideLayout432.xml"/><Relationship Id="rId38" Type="http://schemas.openxmlformats.org/officeDocument/2006/relationships/slideLayout" Target="../slideLayouts/slideLayout437.xml"/><Relationship Id="rId46" Type="http://schemas.openxmlformats.org/officeDocument/2006/relationships/slideLayout" Target="../slideLayouts/slideLayout445.xml"/><Relationship Id="rId59" Type="http://schemas.openxmlformats.org/officeDocument/2006/relationships/slideLayout" Target="../slideLayouts/slideLayout458.xml"/><Relationship Id="rId67" Type="http://schemas.openxmlformats.org/officeDocument/2006/relationships/slideLayout" Target="../slideLayouts/slideLayout466.xml"/><Relationship Id="rId20" Type="http://schemas.openxmlformats.org/officeDocument/2006/relationships/slideLayout" Target="../slideLayouts/slideLayout419.xml"/><Relationship Id="rId41" Type="http://schemas.openxmlformats.org/officeDocument/2006/relationships/slideLayout" Target="../slideLayouts/slideLayout440.xml"/><Relationship Id="rId54" Type="http://schemas.openxmlformats.org/officeDocument/2006/relationships/slideLayout" Target="../slideLayouts/slideLayout453.xml"/><Relationship Id="rId62" Type="http://schemas.openxmlformats.org/officeDocument/2006/relationships/slideLayout" Target="../slideLayouts/slideLayout461.xml"/><Relationship Id="rId70" Type="http://schemas.openxmlformats.org/officeDocument/2006/relationships/slideLayout" Target="../slideLayouts/slideLayout469.xml"/><Relationship Id="rId75" Type="http://schemas.openxmlformats.org/officeDocument/2006/relationships/slideLayout" Target="../slideLayouts/slideLayout474.xml"/><Relationship Id="rId83" Type="http://schemas.openxmlformats.org/officeDocument/2006/relationships/slideLayout" Target="../slideLayouts/slideLayout482.xml"/><Relationship Id="rId88" Type="http://schemas.openxmlformats.org/officeDocument/2006/relationships/slideLayout" Target="../slideLayouts/slideLayout487.xml"/><Relationship Id="rId91" Type="http://schemas.openxmlformats.org/officeDocument/2006/relationships/slideLayout" Target="../slideLayouts/slideLayout490.xml"/><Relationship Id="rId96" Type="http://schemas.openxmlformats.org/officeDocument/2006/relationships/image" Target="../media/image1.emf"/><Relationship Id="rId1" Type="http://schemas.openxmlformats.org/officeDocument/2006/relationships/slideLayout" Target="../slideLayouts/slideLayout400.xml"/><Relationship Id="rId6" Type="http://schemas.openxmlformats.org/officeDocument/2006/relationships/slideLayout" Target="../slideLayouts/slideLayout405.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36" Type="http://schemas.openxmlformats.org/officeDocument/2006/relationships/slideLayout" Target="../slideLayouts/slideLayout435.xml"/><Relationship Id="rId49" Type="http://schemas.openxmlformats.org/officeDocument/2006/relationships/slideLayout" Target="../slideLayouts/slideLayout448.xml"/><Relationship Id="rId57" Type="http://schemas.openxmlformats.org/officeDocument/2006/relationships/slideLayout" Target="../slideLayouts/slideLayout456.xml"/><Relationship Id="rId10" Type="http://schemas.openxmlformats.org/officeDocument/2006/relationships/slideLayout" Target="../slideLayouts/slideLayout409.xml"/><Relationship Id="rId31" Type="http://schemas.openxmlformats.org/officeDocument/2006/relationships/slideLayout" Target="../slideLayouts/slideLayout430.xml"/><Relationship Id="rId44" Type="http://schemas.openxmlformats.org/officeDocument/2006/relationships/slideLayout" Target="../slideLayouts/slideLayout443.xml"/><Relationship Id="rId52" Type="http://schemas.openxmlformats.org/officeDocument/2006/relationships/slideLayout" Target="../slideLayouts/slideLayout451.xml"/><Relationship Id="rId60" Type="http://schemas.openxmlformats.org/officeDocument/2006/relationships/slideLayout" Target="../slideLayouts/slideLayout459.xml"/><Relationship Id="rId65" Type="http://schemas.openxmlformats.org/officeDocument/2006/relationships/slideLayout" Target="../slideLayouts/slideLayout464.xml"/><Relationship Id="rId73" Type="http://schemas.openxmlformats.org/officeDocument/2006/relationships/slideLayout" Target="../slideLayouts/slideLayout472.xml"/><Relationship Id="rId78" Type="http://schemas.openxmlformats.org/officeDocument/2006/relationships/slideLayout" Target="../slideLayouts/slideLayout477.xml"/><Relationship Id="rId81" Type="http://schemas.openxmlformats.org/officeDocument/2006/relationships/slideLayout" Target="../slideLayouts/slideLayout480.xml"/><Relationship Id="rId86" Type="http://schemas.openxmlformats.org/officeDocument/2006/relationships/slideLayout" Target="../slideLayouts/slideLayout485.xml"/><Relationship Id="rId94" Type="http://schemas.openxmlformats.org/officeDocument/2006/relationships/slideLayout" Target="../slideLayouts/slideLayout493.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39" Type="http://schemas.openxmlformats.org/officeDocument/2006/relationships/slideLayout" Target="../slideLayouts/slideLayout438.xml"/><Relationship Id="rId34" Type="http://schemas.openxmlformats.org/officeDocument/2006/relationships/slideLayout" Target="../slideLayouts/slideLayout433.xml"/><Relationship Id="rId50" Type="http://schemas.openxmlformats.org/officeDocument/2006/relationships/slideLayout" Target="../slideLayouts/slideLayout449.xml"/><Relationship Id="rId55" Type="http://schemas.openxmlformats.org/officeDocument/2006/relationships/slideLayout" Target="../slideLayouts/slideLayout454.xml"/><Relationship Id="rId76" Type="http://schemas.openxmlformats.org/officeDocument/2006/relationships/slideLayout" Target="../slideLayouts/slideLayout475.xml"/><Relationship Id="rId7" Type="http://schemas.openxmlformats.org/officeDocument/2006/relationships/slideLayout" Target="../slideLayouts/slideLayout406.xml"/><Relationship Id="rId71" Type="http://schemas.openxmlformats.org/officeDocument/2006/relationships/slideLayout" Target="../slideLayouts/slideLayout470.xml"/><Relationship Id="rId92" Type="http://schemas.openxmlformats.org/officeDocument/2006/relationships/slideLayout" Target="../slideLayouts/slideLayout491.xml"/><Relationship Id="rId2" Type="http://schemas.openxmlformats.org/officeDocument/2006/relationships/slideLayout" Target="../slideLayouts/slideLayout401.xml"/><Relationship Id="rId29" Type="http://schemas.openxmlformats.org/officeDocument/2006/relationships/slideLayout" Target="../slideLayouts/slideLayout428.xml"/><Relationship Id="rId24" Type="http://schemas.openxmlformats.org/officeDocument/2006/relationships/slideLayout" Target="../slideLayouts/slideLayout423.xml"/><Relationship Id="rId40" Type="http://schemas.openxmlformats.org/officeDocument/2006/relationships/slideLayout" Target="../slideLayouts/slideLayout439.xml"/><Relationship Id="rId45" Type="http://schemas.openxmlformats.org/officeDocument/2006/relationships/slideLayout" Target="../slideLayouts/slideLayout444.xml"/><Relationship Id="rId66" Type="http://schemas.openxmlformats.org/officeDocument/2006/relationships/slideLayout" Target="../slideLayouts/slideLayout465.xml"/><Relationship Id="rId87" Type="http://schemas.openxmlformats.org/officeDocument/2006/relationships/slideLayout" Target="../slideLayouts/slideLayout486.xml"/><Relationship Id="rId61" Type="http://schemas.openxmlformats.org/officeDocument/2006/relationships/slideLayout" Target="../slideLayouts/slideLayout460.xml"/><Relationship Id="rId82" Type="http://schemas.openxmlformats.org/officeDocument/2006/relationships/slideLayout" Target="../slideLayouts/slideLayout481.xml"/><Relationship Id="rId19" Type="http://schemas.openxmlformats.org/officeDocument/2006/relationships/slideLayout" Target="../slideLayouts/slideLayout418.xml"/><Relationship Id="rId14" Type="http://schemas.openxmlformats.org/officeDocument/2006/relationships/slideLayout" Target="../slideLayouts/slideLayout413.xml"/><Relationship Id="rId30" Type="http://schemas.openxmlformats.org/officeDocument/2006/relationships/slideLayout" Target="../slideLayouts/slideLayout429.xml"/><Relationship Id="rId35" Type="http://schemas.openxmlformats.org/officeDocument/2006/relationships/slideLayout" Target="../slideLayouts/slideLayout434.xml"/><Relationship Id="rId56" Type="http://schemas.openxmlformats.org/officeDocument/2006/relationships/slideLayout" Target="../slideLayouts/slideLayout455.xml"/><Relationship Id="rId77" Type="http://schemas.openxmlformats.org/officeDocument/2006/relationships/slideLayout" Target="../slideLayouts/slideLayout47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519.xml"/><Relationship Id="rId21" Type="http://schemas.openxmlformats.org/officeDocument/2006/relationships/slideLayout" Target="../slideLayouts/slideLayout514.xml"/><Relationship Id="rId42" Type="http://schemas.openxmlformats.org/officeDocument/2006/relationships/slideLayout" Target="../slideLayouts/slideLayout535.xml"/><Relationship Id="rId47" Type="http://schemas.openxmlformats.org/officeDocument/2006/relationships/slideLayout" Target="../slideLayouts/slideLayout540.xml"/><Relationship Id="rId63" Type="http://schemas.openxmlformats.org/officeDocument/2006/relationships/slideLayout" Target="../slideLayouts/slideLayout556.xml"/><Relationship Id="rId68" Type="http://schemas.openxmlformats.org/officeDocument/2006/relationships/slideLayout" Target="../slideLayouts/slideLayout561.xml"/><Relationship Id="rId84" Type="http://schemas.openxmlformats.org/officeDocument/2006/relationships/slideLayout" Target="../slideLayouts/slideLayout577.xml"/><Relationship Id="rId16" Type="http://schemas.openxmlformats.org/officeDocument/2006/relationships/slideLayout" Target="../slideLayouts/slideLayout509.xml"/><Relationship Id="rId11" Type="http://schemas.openxmlformats.org/officeDocument/2006/relationships/slideLayout" Target="../slideLayouts/slideLayout504.xml"/><Relationship Id="rId32" Type="http://schemas.openxmlformats.org/officeDocument/2006/relationships/slideLayout" Target="../slideLayouts/slideLayout525.xml"/><Relationship Id="rId37" Type="http://schemas.openxmlformats.org/officeDocument/2006/relationships/slideLayout" Target="../slideLayouts/slideLayout530.xml"/><Relationship Id="rId53" Type="http://schemas.openxmlformats.org/officeDocument/2006/relationships/slideLayout" Target="../slideLayouts/slideLayout546.xml"/><Relationship Id="rId58" Type="http://schemas.openxmlformats.org/officeDocument/2006/relationships/slideLayout" Target="../slideLayouts/slideLayout551.xml"/><Relationship Id="rId74" Type="http://schemas.openxmlformats.org/officeDocument/2006/relationships/slideLayout" Target="../slideLayouts/slideLayout567.xml"/><Relationship Id="rId79" Type="http://schemas.openxmlformats.org/officeDocument/2006/relationships/slideLayout" Target="../slideLayouts/slideLayout572.xml"/><Relationship Id="rId5" Type="http://schemas.openxmlformats.org/officeDocument/2006/relationships/slideLayout" Target="../slideLayouts/slideLayout498.xml"/><Relationship Id="rId19" Type="http://schemas.openxmlformats.org/officeDocument/2006/relationships/slideLayout" Target="../slideLayouts/slideLayout51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slideLayout" Target="../slideLayouts/slideLayout520.xml"/><Relationship Id="rId30" Type="http://schemas.openxmlformats.org/officeDocument/2006/relationships/slideLayout" Target="../slideLayouts/slideLayout523.xml"/><Relationship Id="rId35" Type="http://schemas.openxmlformats.org/officeDocument/2006/relationships/slideLayout" Target="../slideLayouts/slideLayout528.xml"/><Relationship Id="rId43" Type="http://schemas.openxmlformats.org/officeDocument/2006/relationships/slideLayout" Target="../slideLayouts/slideLayout536.xml"/><Relationship Id="rId48" Type="http://schemas.openxmlformats.org/officeDocument/2006/relationships/slideLayout" Target="../slideLayouts/slideLayout541.xml"/><Relationship Id="rId56" Type="http://schemas.openxmlformats.org/officeDocument/2006/relationships/slideLayout" Target="../slideLayouts/slideLayout549.xml"/><Relationship Id="rId64" Type="http://schemas.openxmlformats.org/officeDocument/2006/relationships/slideLayout" Target="../slideLayouts/slideLayout557.xml"/><Relationship Id="rId69" Type="http://schemas.openxmlformats.org/officeDocument/2006/relationships/slideLayout" Target="../slideLayouts/slideLayout562.xml"/><Relationship Id="rId77" Type="http://schemas.openxmlformats.org/officeDocument/2006/relationships/slideLayout" Target="../slideLayouts/slideLayout570.xml"/><Relationship Id="rId8" Type="http://schemas.openxmlformats.org/officeDocument/2006/relationships/slideLayout" Target="../slideLayouts/slideLayout501.xml"/><Relationship Id="rId51" Type="http://schemas.openxmlformats.org/officeDocument/2006/relationships/slideLayout" Target="../slideLayouts/slideLayout544.xml"/><Relationship Id="rId72" Type="http://schemas.openxmlformats.org/officeDocument/2006/relationships/slideLayout" Target="../slideLayouts/slideLayout565.xml"/><Relationship Id="rId80" Type="http://schemas.openxmlformats.org/officeDocument/2006/relationships/slideLayout" Target="../slideLayouts/slideLayout573.xml"/><Relationship Id="rId85" Type="http://schemas.openxmlformats.org/officeDocument/2006/relationships/slideLayout" Target="../slideLayouts/slideLayout578.xml"/><Relationship Id="rId3" Type="http://schemas.openxmlformats.org/officeDocument/2006/relationships/slideLayout" Target="../slideLayouts/slideLayout496.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slideLayout" Target="../slideLayouts/slideLayout518.xml"/><Relationship Id="rId33" Type="http://schemas.openxmlformats.org/officeDocument/2006/relationships/slideLayout" Target="../slideLayouts/slideLayout526.xml"/><Relationship Id="rId38" Type="http://schemas.openxmlformats.org/officeDocument/2006/relationships/slideLayout" Target="../slideLayouts/slideLayout531.xml"/><Relationship Id="rId46" Type="http://schemas.openxmlformats.org/officeDocument/2006/relationships/slideLayout" Target="../slideLayouts/slideLayout539.xml"/><Relationship Id="rId59" Type="http://schemas.openxmlformats.org/officeDocument/2006/relationships/slideLayout" Target="../slideLayouts/slideLayout552.xml"/><Relationship Id="rId67" Type="http://schemas.openxmlformats.org/officeDocument/2006/relationships/slideLayout" Target="../slideLayouts/slideLayout560.xml"/><Relationship Id="rId20" Type="http://schemas.openxmlformats.org/officeDocument/2006/relationships/slideLayout" Target="../slideLayouts/slideLayout513.xml"/><Relationship Id="rId41" Type="http://schemas.openxmlformats.org/officeDocument/2006/relationships/slideLayout" Target="../slideLayouts/slideLayout534.xml"/><Relationship Id="rId54" Type="http://schemas.openxmlformats.org/officeDocument/2006/relationships/slideLayout" Target="../slideLayouts/slideLayout547.xml"/><Relationship Id="rId62" Type="http://schemas.openxmlformats.org/officeDocument/2006/relationships/slideLayout" Target="../slideLayouts/slideLayout555.xml"/><Relationship Id="rId70" Type="http://schemas.openxmlformats.org/officeDocument/2006/relationships/slideLayout" Target="../slideLayouts/slideLayout563.xml"/><Relationship Id="rId75" Type="http://schemas.openxmlformats.org/officeDocument/2006/relationships/slideLayout" Target="../slideLayouts/slideLayout568.xml"/><Relationship Id="rId83" Type="http://schemas.openxmlformats.org/officeDocument/2006/relationships/slideLayout" Target="../slideLayouts/slideLayout576.xml"/><Relationship Id="rId88" Type="http://schemas.openxmlformats.org/officeDocument/2006/relationships/image" Target="../media/image1.emf"/><Relationship Id="rId1" Type="http://schemas.openxmlformats.org/officeDocument/2006/relationships/slideLayout" Target="../slideLayouts/slideLayout494.xml"/><Relationship Id="rId6" Type="http://schemas.openxmlformats.org/officeDocument/2006/relationships/slideLayout" Target="../slideLayouts/slideLayout499.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slideLayout" Target="../slideLayouts/slideLayout521.xml"/><Relationship Id="rId36" Type="http://schemas.openxmlformats.org/officeDocument/2006/relationships/slideLayout" Target="../slideLayouts/slideLayout529.xml"/><Relationship Id="rId49" Type="http://schemas.openxmlformats.org/officeDocument/2006/relationships/slideLayout" Target="../slideLayouts/slideLayout542.xml"/><Relationship Id="rId57" Type="http://schemas.openxmlformats.org/officeDocument/2006/relationships/slideLayout" Target="../slideLayouts/slideLayout550.xml"/><Relationship Id="rId10" Type="http://schemas.openxmlformats.org/officeDocument/2006/relationships/slideLayout" Target="../slideLayouts/slideLayout503.xml"/><Relationship Id="rId31" Type="http://schemas.openxmlformats.org/officeDocument/2006/relationships/slideLayout" Target="../slideLayouts/slideLayout524.xml"/><Relationship Id="rId44" Type="http://schemas.openxmlformats.org/officeDocument/2006/relationships/slideLayout" Target="../slideLayouts/slideLayout537.xml"/><Relationship Id="rId52" Type="http://schemas.openxmlformats.org/officeDocument/2006/relationships/slideLayout" Target="../slideLayouts/slideLayout545.xml"/><Relationship Id="rId60" Type="http://schemas.openxmlformats.org/officeDocument/2006/relationships/slideLayout" Target="../slideLayouts/slideLayout553.xml"/><Relationship Id="rId65" Type="http://schemas.openxmlformats.org/officeDocument/2006/relationships/slideLayout" Target="../slideLayouts/slideLayout558.xml"/><Relationship Id="rId73" Type="http://schemas.openxmlformats.org/officeDocument/2006/relationships/slideLayout" Target="../slideLayouts/slideLayout566.xml"/><Relationship Id="rId78" Type="http://schemas.openxmlformats.org/officeDocument/2006/relationships/slideLayout" Target="../slideLayouts/slideLayout571.xml"/><Relationship Id="rId81" Type="http://schemas.openxmlformats.org/officeDocument/2006/relationships/slideLayout" Target="../slideLayouts/slideLayout574.xml"/><Relationship Id="rId86" Type="http://schemas.openxmlformats.org/officeDocument/2006/relationships/slideLayout" Target="../slideLayouts/slideLayout579.xml"/><Relationship Id="rId4" Type="http://schemas.openxmlformats.org/officeDocument/2006/relationships/slideLayout" Target="../slideLayouts/slideLayout497.xml"/><Relationship Id="rId9" Type="http://schemas.openxmlformats.org/officeDocument/2006/relationships/slideLayout" Target="../slideLayouts/slideLayout502.xml"/><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39" Type="http://schemas.openxmlformats.org/officeDocument/2006/relationships/slideLayout" Target="../slideLayouts/slideLayout532.xml"/><Relationship Id="rId34" Type="http://schemas.openxmlformats.org/officeDocument/2006/relationships/slideLayout" Target="../slideLayouts/slideLayout527.xml"/><Relationship Id="rId50" Type="http://schemas.openxmlformats.org/officeDocument/2006/relationships/slideLayout" Target="../slideLayouts/slideLayout543.xml"/><Relationship Id="rId55" Type="http://schemas.openxmlformats.org/officeDocument/2006/relationships/slideLayout" Target="../slideLayouts/slideLayout548.xml"/><Relationship Id="rId76" Type="http://schemas.openxmlformats.org/officeDocument/2006/relationships/slideLayout" Target="../slideLayouts/slideLayout569.xml"/><Relationship Id="rId7" Type="http://schemas.openxmlformats.org/officeDocument/2006/relationships/slideLayout" Target="../slideLayouts/slideLayout500.xml"/><Relationship Id="rId71" Type="http://schemas.openxmlformats.org/officeDocument/2006/relationships/slideLayout" Target="../slideLayouts/slideLayout564.xml"/><Relationship Id="rId2" Type="http://schemas.openxmlformats.org/officeDocument/2006/relationships/slideLayout" Target="../slideLayouts/slideLayout495.xml"/><Relationship Id="rId29" Type="http://schemas.openxmlformats.org/officeDocument/2006/relationships/slideLayout" Target="../slideLayouts/slideLayout522.xml"/><Relationship Id="rId24" Type="http://schemas.openxmlformats.org/officeDocument/2006/relationships/slideLayout" Target="../slideLayouts/slideLayout517.xml"/><Relationship Id="rId40" Type="http://schemas.openxmlformats.org/officeDocument/2006/relationships/slideLayout" Target="../slideLayouts/slideLayout533.xml"/><Relationship Id="rId45" Type="http://schemas.openxmlformats.org/officeDocument/2006/relationships/slideLayout" Target="../slideLayouts/slideLayout538.xml"/><Relationship Id="rId66" Type="http://schemas.openxmlformats.org/officeDocument/2006/relationships/slideLayout" Target="../slideLayouts/slideLayout559.xml"/><Relationship Id="rId87" Type="http://schemas.openxmlformats.org/officeDocument/2006/relationships/theme" Target="../theme/theme7.xml"/><Relationship Id="rId61" Type="http://schemas.openxmlformats.org/officeDocument/2006/relationships/slideLayout" Target="../slideLayouts/slideLayout554.xml"/><Relationship Id="rId82" Type="http://schemas.openxmlformats.org/officeDocument/2006/relationships/slideLayout" Target="../slideLayouts/slideLayout5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6545114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3" r:id="rId21"/>
    <p:sldLayoutId id="2147484194" r:id="rId22"/>
    <p:sldLayoutId id="2147484195" r:id="rId23"/>
    <p:sldLayoutId id="2147484196" r:id="rId24"/>
    <p:sldLayoutId id="2147484197" r:id="rId25"/>
    <p:sldLayoutId id="2147484198" r:id="rId26"/>
    <p:sldLayoutId id="2147484199" r:id="rId27"/>
    <p:sldLayoutId id="2147484200" r:id="rId28"/>
    <p:sldLayoutId id="2147484201" r:id="rId29"/>
    <p:sldLayoutId id="2147484202"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1" r:id="rId39"/>
    <p:sldLayoutId id="2147484212" r:id="rId40"/>
    <p:sldLayoutId id="2147484213" r:id="rId41"/>
    <p:sldLayoutId id="2147484214" r:id="rId42"/>
    <p:sldLayoutId id="2147484215" r:id="rId43"/>
    <p:sldLayoutId id="2147484216" r:id="rId44"/>
    <p:sldLayoutId id="2147484217" r:id="rId45"/>
    <p:sldLayoutId id="2147484218" r:id="rId46"/>
    <p:sldLayoutId id="2147484219" r:id="rId47"/>
    <p:sldLayoutId id="2147484220" r:id="rId48"/>
    <p:sldLayoutId id="2147484221" r:id="rId49"/>
    <p:sldLayoutId id="2147484222" r:id="rId50"/>
    <p:sldLayoutId id="2147484223" r:id="rId51"/>
    <p:sldLayoutId id="2147484224" r:id="rId52"/>
    <p:sldLayoutId id="2147484225" r:id="rId53"/>
    <p:sldLayoutId id="2147484226" r:id="rId54"/>
    <p:sldLayoutId id="2147484227" r:id="rId55"/>
    <p:sldLayoutId id="2147484228" r:id="rId56"/>
    <p:sldLayoutId id="2147484229" r:id="rId57"/>
    <p:sldLayoutId id="2147484230" r:id="rId58"/>
    <p:sldLayoutId id="2147484231" r:id="rId59"/>
    <p:sldLayoutId id="2147484232" r:id="rId60"/>
    <p:sldLayoutId id="2147484233" r:id="rId61"/>
    <p:sldLayoutId id="2147484234" r:id="rId62"/>
    <p:sldLayoutId id="2147484235" r:id="rId63"/>
    <p:sldLayoutId id="2147484236" r:id="rId64"/>
    <p:sldLayoutId id="2147484237" r:id="rId65"/>
    <p:sldLayoutId id="2147484238" r:id="rId66"/>
    <p:sldLayoutId id="2147484239" r:id="rId67"/>
    <p:sldLayoutId id="2147484240" r:id="rId68"/>
    <p:sldLayoutId id="2147484241" r:id="rId69"/>
    <p:sldLayoutId id="2147484242" r:id="rId70"/>
    <p:sldLayoutId id="2147484243" r:id="rId71"/>
    <p:sldLayoutId id="2147484244" r:id="rId72"/>
    <p:sldLayoutId id="2147484245" r:id="rId73"/>
    <p:sldLayoutId id="2147484246" r:id="rId74"/>
    <p:sldLayoutId id="2147484247" r:id="rId75"/>
    <p:sldLayoutId id="2147484248" r:id="rId76"/>
    <p:sldLayoutId id="2147484249" r:id="rId77"/>
    <p:sldLayoutId id="2147484250" r:id="rId78"/>
    <p:sldLayoutId id="2147484251" r:id="rId79"/>
    <p:sldLayoutId id="2147484252" r:id="rId80"/>
    <p:sldLayoutId id="2147484253" r:id="rId81"/>
    <p:sldLayoutId id="2147484254" r:id="rId82"/>
    <p:sldLayoutId id="2147484255" r:id="rId83"/>
    <p:sldLayoutId id="2147484256" r:id="rId84"/>
    <p:sldLayoutId id="2147484257" r:id="rId85"/>
    <p:sldLayoutId id="2147484258" r:id="rId8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322943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 id="2147483830" r:id="rId71"/>
    <p:sldLayoutId id="2147483831" r:id="rId72"/>
    <p:sldLayoutId id="2147483832" r:id="rId73"/>
    <p:sldLayoutId id="2147483833" r:id="rId74"/>
    <p:sldLayoutId id="2147483834" r:id="rId75"/>
    <p:sldLayoutId id="2147483835" r:id="rId76"/>
    <p:sldLayoutId id="2147483836" r:id="rId77"/>
    <p:sldLayoutId id="2147483837" r:id="rId78"/>
    <p:sldLayoutId id="2147483838" r:id="rId79"/>
    <p:sldLayoutId id="2147483839" r:id="rId80"/>
    <p:sldLayoutId id="2147483840" r:id="rId81"/>
    <p:sldLayoutId id="2147483841" r:id="rId82"/>
    <p:sldLayoutId id="2147483842" r:id="rId83"/>
    <p:sldLayoutId id="2147483844" r:id="rId84"/>
    <p:sldLayoutId id="2147483845" r:id="rId85"/>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85645694"/>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 id="2147483899" r:id="rId53"/>
    <p:sldLayoutId id="2147483900" r:id="rId54"/>
    <p:sldLayoutId id="2147483901" r:id="rId55"/>
    <p:sldLayoutId id="2147483902" r:id="rId56"/>
    <p:sldLayoutId id="2147483903" r:id="rId57"/>
    <p:sldLayoutId id="2147483904" r:id="rId58"/>
    <p:sldLayoutId id="2147483905" r:id="rId59"/>
    <p:sldLayoutId id="2147483906" r:id="rId60"/>
    <p:sldLayoutId id="2147483907" r:id="rId61"/>
    <p:sldLayoutId id="2147483908" r:id="rId62"/>
    <p:sldLayoutId id="2147483909" r:id="rId63"/>
    <p:sldLayoutId id="2147483910" r:id="rId64"/>
    <p:sldLayoutId id="2147483911" r:id="rId65"/>
    <p:sldLayoutId id="2147483912" r:id="rId66"/>
    <p:sldLayoutId id="2147483913" r:id="rId67"/>
    <p:sldLayoutId id="2147483914" r:id="rId68"/>
    <p:sldLayoutId id="2147483915" r:id="rId69"/>
    <p:sldLayoutId id="2147483916" r:id="rId7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5" cstate="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176702796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 id="2147483968" r:id="rId51"/>
    <p:sldLayoutId id="2147483969" r:id="rId52"/>
    <p:sldLayoutId id="2147483970" r:id="rId53"/>
    <p:sldLayoutId id="2147483971" r:id="rId54"/>
    <p:sldLayoutId id="2147483972" r:id="rId55"/>
    <p:sldLayoutId id="2147483973" r:id="rId56"/>
    <p:sldLayoutId id="2147483974" r:id="rId57"/>
    <p:sldLayoutId id="2147483975" r:id="rId58"/>
    <p:sldLayoutId id="2147483976" r:id="rId59"/>
    <p:sldLayoutId id="2147483977" r:id="rId60"/>
    <p:sldLayoutId id="2147483978" r:id="rId61"/>
    <p:sldLayoutId id="2147483979" r:id="rId62"/>
    <p:sldLayoutId id="2147483980" r:id="rId63"/>
    <p:sldLayoutId id="2147483981" r:id="rId64"/>
    <p:sldLayoutId id="2147483982" r:id="rId65"/>
    <p:sldLayoutId id="2147483983" r:id="rId66"/>
    <p:sldLayoutId id="2147483984" r:id="rId67"/>
    <p:sldLayoutId id="2147483985" r:id="rId68"/>
    <p:sldLayoutId id="2147483986" r:id="rId69"/>
    <p:sldLayoutId id="2147483987" r:id="rId70"/>
    <p:sldLayoutId id="2147483988" r:id="rId71"/>
    <p:sldLayoutId id="2147483989" r:id="rId72"/>
    <p:sldLayoutId id="2147483990" r:id="rId73"/>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7"/>
          <a:srcRect l="762"/>
          <a:stretch/>
        </p:blipFill>
        <p:spPr>
          <a:xfrm rot="5400000">
            <a:off x="9509761" y="2843774"/>
            <a:ext cx="6858000" cy="1170455"/>
          </a:xfrm>
          <a:prstGeom prst="rect">
            <a:avLst/>
          </a:prstGeom>
        </p:spPr>
      </p:pic>
      <p:sp>
        <p:nvSpPr>
          <p:cNvPr id="49" name="TextBox 48">
            <a:extLst>
              <a:ext uri="{FF2B5EF4-FFF2-40B4-BE49-F238E27FC236}">
                <a16:creationId xmlns:a16="http://schemas.microsoft.com/office/drawing/2014/main" id="{542A7756-6519-4838-A79D-0F07BA14A19C}"/>
              </a:ext>
            </a:extLst>
          </p:cNvPr>
          <p:cNvSpPr txBox="1"/>
          <p:nvPr/>
        </p:nvSpPr>
        <p:spPr>
          <a:xfrm>
            <a:off x="584200" y="6354354"/>
            <a:ext cx="6761746" cy="153888"/>
          </a:xfrm>
          <a:prstGeom prst="rect">
            <a:avLst/>
          </a:prstGeom>
          <a:noFill/>
        </p:spPr>
        <p:txBody>
          <a:bodyPr wrap="square" lIns="0" tIns="0" rIns="0" bIns="0">
            <a:spAutoFit/>
          </a:bodyPr>
          <a:lstStyle/>
          <a:p>
            <a:r>
              <a:rPr lang="en-US" sz="1000">
                <a:gradFill>
                  <a:gsLst>
                    <a:gs pos="0">
                      <a:schemeClr val="accent4"/>
                    </a:gs>
                    <a:gs pos="100000">
                      <a:schemeClr val="accent4"/>
                    </a:gs>
                  </a:gsLst>
                  <a:lin ang="5400000" scaled="0"/>
                </a:gradFill>
                <a:effectLst/>
                <a:latin typeface="Segoe UI" panose="020B0502040204020203" pitchFamily="34" charset="0"/>
              </a:rPr>
              <a:t>Microsoft Confidential. Shared under NDA.</a:t>
            </a:r>
            <a:endParaRPr lang="en-US" sz="1050">
              <a:gradFill>
                <a:gsLst>
                  <a:gs pos="0">
                    <a:schemeClr val="accent4"/>
                  </a:gs>
                  <a:gs pos="100000">
                    <a:schemeClr val="accent4"/>
                  </a:gs>
                </a:gsLst>
                <a:lin ang="5400000" scaled="0"/>
              </a:gradFill>
              <a:effectLst/>
              <a:latin typeface="Arial" panose="020B0604020202020204" pitchFamily="34" charset="0"/>
            </a:endParaRPr>
          </a:p>
        </p:txBody>
      </p:sp>
    </p:spTree>
    <p:extLst>
      <p:ext uri="{BB962C8B-B14F-4D97-AF65-F5344CB8AC3E}">
        <p14:creationId xmlns:p14="http://schemas.microsoft.com/office/powerpoint/2010/main" val="3873402983"/>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21" r:id="rId30"/>
    <p:sldLayoutId id="2147484022" r:id="rId31"/>
    <p:sldLayoutId id="2147484023" r:id="rId32"/>
    <p:sldLayoutId id="2147484024" r:id="rId33"/>
    <p:sldLayoutId id="2147484025" r:id="rId34"/>
    <p:sldLayoutId id="2147484026" r:id="rId35"/>
    <p:sldLayoutId id="2147484027" r:id="rId36"/>
    <p:sldLayoutId id="2147484028" r:id="rId37"/>
    <p:sldLayoutId id="2147484029" r:id="rId38"/>
    <p:sldLayoutId id="2147484030" r:id="rId39"/>
    <p:sldLayoutId id="2147484031" r:id="rId40"/>
    <p:sldLayoutId id="2147484032" r:id="rId41"/>
    <p:sldLayoutId id="2147484033" r:id="rId42"/>
    <p:sldLayoutId id="2147484034" r:id="rId43"/>
    <p:sldLayoutId id="2147484035" r:id="rId44"/>
    <p:sldLayoutId id="2147484036" r:id="rId45"/>
    <p:sldLayoutId id="2147484037" r:id="rId46"/>
    <p:sldLayoutId id="2147484038" r:id="rId47"/>
    <p:sldLayoutId id="2147484039" r:id="rId48"/>
    <p:sldLayoutId id="2147484040" r:id="rId49"/>
    <p:sldLayoutId id="2147484041" r:id="rId50"/>
    <p:sldLayoutId id="2147484042" r:id="rId51"/>
    <p:sldLayoutId id="2147484043" r:id="rId52"/>
    <p:sldLayoutId id="2147484044" r:id="rId53"/>
    <p:sldLayoutId id="2147484045" r:id="rId54"/>
    <p:sldLayoutId id="2147484046" r:id="rId55"/>
    <p:sldLayoutId id="2147484047" r:id="rId56"/>
    <p:sldLayoutId id="2147484048" r:id="rId57"/>
    <p:sldLayoutId id="2147484049" r:id="rId58"/>
    <p:sldLayoutId id="2147484050" r:id="rId59"/>
    <p:sldLayoutId id="2147484051" r:id="rId60"/>
    <p:sldLayoutId id="2147484052" r:id="rId61"/>
    <p:sldLayoutId id="2147484053" r:id="rId62"/>
    <p:sldLayoutId id="2147484054" r:id="rId63"/>
    <p:sldLayoutId id="2147484055" r:id="rId64"/>
    <p:sldLayoutId id="2147484056" r:id="rId65"/>
    <p:sldLayoutId id="2147484057" r:id="rId66"/>
    <p:sldLayoutId id="2147484058" r:id="rId67"/>
    <p:sldLayoutId id="2147484059" r:id="rId68"/>
    <p:sldLayoutId id="2147484060" r:id="rId69"/>
    <p:sldLayoutId id="2147484061" r:id="rId70"/>
    <p:sldLayoutId id="2147484062" r:id="rId71"/>
    <p:sldLayoutId id="2147484063" r:id="rId72"/>
    <p:sldLayoutId id="2147484064" r:id="rId73"/>
    <p:sldLayoutId id="2147484065" r:id="rId74"/>
    <p:sldLayoutId id="2147484066" r:id="rId75"/>
    <p:sldLayoutId id="2147484067" r:id="rId76"/>
    <p:sldLayoutId id="2147484068" r:id="rId77"/>
    <p:sldLayoutId id="2147484069" r:id="rId78"/>
    <p:sldLayoutId id="2147484070" r:id="rId79"/>
    <p:sldLayoutId id="2147484071" r:id="rId80"/>
    <p:sldLayoutId id="2147484072" r:id="rId81"/>
    <p:sldLayoutId id="2147484073" r:id="rId82"/>
    <p:sldLayoutId id="2147484074" r:id="rId83"/>
    <p:sldLayoutId id="2147484075" r:id="rId84"/>
    <p:sldLayoutId id="2147484076" r:id="rId85"/>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96"/>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519383176"/>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 id="2147484108" r:id="rId31"/>
    <p:sldLayoutId id="2147484109" r:id="rId32"/>
    <p:sldLayoutId id="2147484110" r:id="rId33"/>
    <p:sldLayoutId id="2147484111" r:id="rId34"/>
    <p:sldLayoutId id="2147484112" r:id="rId35"/>
    <p:sldLayoutId id="2147484113" r:id="rId36"/>
    <p:sldLayoutId id="2147484114" r:id="rId37"/>
    <p:sldLayoutId id="2147484115" r:id="rId38"/>
    <p:sldLayoutId id="2147484116" r:id="rId39"/>
    <p:sldLayoutId id="2147484117" r:id="rId40"/>
    <p:sldLayoutId id="2147484118" r:id="rId41"/>
    <p:sldLayoutId id="2147484119" r:id="rId42"/>
    <p:sldLayoutId id="2147484120" r:id="rId43"/>
    <p:sldLayoutId id="2147484121" r:id="rId44"/>
    <p:sldLayoutId id="2147484122" r:id="rId45"/>
    <p:sldLayoutId id="2147484123" r:id="rId46"/>
    <p:sldLayoutId id="2147484124" r:id="rId47"/>
    <p:sldLayoutId id="2147484125" r:id="rId48"/>
    <p:sldLayoutId id="2147484126" r:id="rId49"/>
    <p:sldLayoutId id="2147484127" r:id="rId50"/>
    <p:sldLayoutId id="2147484128" r:id="rId51"/>
    <p:sldLayoutId id="2147484129" r:id="rId52"/>
    <p:sldLayoutId id="2147484130" r:id="rId53"/>
    <p:sldLayoutId id="2147484131" r:id="rId54"/>
    <p:sldLayoutId id="2147484132" r:id="rId55"/>
    <p:sldLayoutId id="2147484133" r:id="rId56"/>
    <p:sldLayoutId id="2147484134" r:id="rId57"/>
    <p:sldLayoutId id="2147484135" r:id="rId58"/>
    <p:sldLayoutId id="2147484136" r:id="rId59"/>
    <p:sldLayoutId id="2147484137" r:id="rId60"/>
    <p:sldLayoutId id="2147484138" r:id="rId61"/>
    <p:sldLayoutId id="2147484139" r:id="rId62"/>
    <p:sldLayoutId id="2147484140" r:id="rId63"/>
    <p:sldLayoutId id="2147484141" r:id="rId64"/>
    <p:sldLayoutId id="2147484142" r:id="rId65"/>
    <p:sldLayoutId id="2147484143" r:id="rId66"/>
    <p:sldLayoutId id="2147484144" r:id="rId67"/>
    <p:sldLayoutId id="2147484145" r:id="rId68"/>
    <p:sldLayoutId id="2147484146" r:id="rId69"/>
    <p:sldLayoutId id="2147484147" r:id="rId70"/>
    <p:sldLayoutId id="2147484148" r:id="rId71"/>
    <p:sldLayoutId id="2147484149" r:id="rId72"/>
    <p:sldLayoutId id="2147484150" r:id="rId73"/>
    <p:sldLayoutId id="2147484151" r:id="rId74"/>
    <p:sldLayoutId id="2147484152" r:id="rId75"/>
    <p:sldLayoutId id="2147484153" r:id="rId76"/>
    <p:sldLayoutId id="2147484154" r:id="rId77"/>
    <p:sldLayoutId id="2147484155" r:id="rId78"/>
    <p:sldLayoutId id="2147484156" r:id="rId79"/>
    <p:sldLayoutId id="2147484157" r:id="rId80"/>
    <p:sldLayoutId id="2147484158" r:id="rId81"/>
    <p:sldLayoutId id="2147484159" r:id="rId82"/>
    <p:sldLayoutId id="2147484160" r:id="rId83"/>
    <p:sldLayoutId id="2147484161" r:id="rId84"/>
    <p:sldLayoutId id="2147484162" r:id="rId85"/>
    <p:sldLayoutId id="2147484163" r:id="rId86"/>
    <p:sldLayoutId id="2147484164" r:id="rId87"/>
    <p:sldLayoutId id="2147484165" r:id="rId88"/>
    <p:sldLayoutId id="2147484166" r:id="rId89"/>
    <p:sldLayoutId id="2147484167" r:id="rId90"/>
    <p:sldLayoutId id="2147484168" r:id="rId91"/>
    <p:sldLayoutId id="2147484169" r:id="rId92"/>
    <p:sldLayoutId id="2147484170" r:id="rId93"/>
    <p:sldLayoutId id="2147484171" r:id="rId94"/>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960717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 id="2147483736" r:id="rId64"/>
    <p:sldLayoutId id="2147483737" r:id="rId65"/>
    <p:sldLayoutId id="2147483738" r:id="rId66"/>
    <p:sldLayoutId id="2147483739" r:id="rId67"/>
    <p:sldLayoutId id="2147483740" r:id="rId68"/>
    <p:sldLayoutId id="2147483741" r:id="rId69"/>
    <p:sldLayoutId id="2147483742" r:id="rId70"/>
    <p:sldLayoutId id="2147483743" r:id="rId71"/>
    <p:sldLayoutId id="2147483744" r:id="rId72"/>
    <p:sldLayoutId id="2147483745" r:id="rId73"/>
    <p:sldLayoutId id="2147483746" r:id="rId74"/>
    <p:sldLayoutId id="2147483747" r:id="rId75"/>
    <p:sldLayoutId id="2147483748" r:id="rId76"/>
    <p:sldLayoutId id="2147483749" r:id="rId77"/>
    <p:sldLayoutId id="2147483750" r:id="rId78"/>
    <p:sldLayoutId id="2147483751" r:id="rId79"/>
    <p:sldLayoutId id="2147483752" r:id="rId80"/>
    <p:sldLayoutId id="2147483753" r:id="rId81"/>
    <p:sldLayoutId id="2147483754" r:id="rId82"/>
    <p:sldLayoutId id="2147483755" r:id="rId83"/>
    <p:sldLayoutId id="2147483756" r:id="rId84"/>
    <p:sldLayoutId id="2147483757" r:id="rId85"/>
    <p:sldLayoutId id="2147483758" r:id="rId8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6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5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7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4.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hemeOverride" Target="../theme/themeOverride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hemeOverride" Target="../theme/themeOverride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72B58571-9AA6-D080-248A-60DBAB6985AE}"/>
              </a:ext>
            </a:extLst>
          </p:cNvPr>
          <p:cNvPicPr>
            <a:picLocks noChangeAspect="1"/>
          </p:cNvPicPr>
          <p:nvPr/>
        </p:nvPicPr>
        <p:blipFill rotWithShape="1">
          <a:blip r:embed="rId2"/>
          <a:srcRect t="7863" b="7868"/>
          <a:stretch/>
        </p:blipFill>
        <p:spPr>
          <a:xfrm>
            <a:off x="20" y="10"/>
            <a:ext cx="12191979" cy="6857989"/>
          </a:xfrm>
          <a:prstGeom prst="rect">
            <a:avLst/>
          </a:prstGeom>
        </p:spPr>
      </p:pic>
      <p:sp>
        <p:nvSpPr>
          <p:cNvPr id="8" name="Freeform: Shape 7">
            <a:extLst>
              <a:ext uri="{FF2B5EF4-FFF2-40B4-BE49-F238E27FC236}">
                <a16:creationId xmlns:a16="http://schemas.microsoft.com/office/drawing/2014/main" id="{FCEE7277-2301-F921-BB4E-803040714FFA}"/>
              </a:ext>
            </a:extLst>
          </p:cNvPr>
          <p:cNvSpPr/>
          <p:nvPr/>
        </p:nvSpPr>
        <p:spPr>
          <a:xfrm>
            <a:off x="2505695" y="712519"/>
            <a:ext cx="9686306" cy="6145481"/>
          </a:xfrm>
          <a:custGeom>
            <a:avLst/>
            <a:gdLst>
              <a:gd name="connsiteX0" fmla="*/ 5171297 w 5907885"/>
              <a:gd name="connsiteY0" fmla="*/ 284 h 3479046"/>
              <a:gd name="connsiteX1" fmla="*/ 5813217 w 5907885"/>
              <a:gd name="connsiteY1" fmla="*/ 114238 h 3479046"/>
              <a:gd name="connsiteX2" fmla="*/ 5907885 w 5907885"/>
              <a:gd name="connsiteY2" fmla="*/ 151524 h 3479046"/>
              <a:gd name="connsiteX3" fmla="*/ 5907885 w 5907885"/>
              <a:gd name="connsiteY3" fmla="*/ 3479046 h 3479046"/>
              <a:gd name="connsiteX4" fmla="*/ 0 w 5907885"/>
              <a:gd name="connsiteY4" fmla="*/ 3479046 h 3479046"/>
              <a:gd name="connsiteX5" fmla="*/ 3916974 w 5907885"/>
              <a:gd name="connsiteY5" fmla="*/ 405504 h 3479046"/>
              <a:gd name="connsiteX6" fmla="*/ 3959456 w 5907885"/>
              <a:gd name="connsiteY6" fmla="*/ 373857 h 3479046"/>
              <a:gd name="connsiteX7" fmla="*/ 5052215 w 5907885"/>
              <a:gd name="connsiteY7" fmla="*/ 1756 h 3479046"/>
              <a:gd name="connsiteX8" fmla="*/ 5171297 w 5907885"/>
              <a:gd name="connsiteY8" fmla="*/ 284 h 34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885" h="3479046">
                <a:moveTo>
                  <a:pt x="5171297" y="284"/>
                </a:moveTo>
                <a:cubicBezTo>
                  <a:pt x="5389485" y="3908"/>
                  <a:pt x="5606422" y="42249"/>
                  <a:pt x="5813217" y="114238"/>
                </a:cubicBezTo>
                <a:lnTo>
                  <a:pt x="5907885" y="151524"/>
                </a:lnTo>
                <a:lnTo>
                  <a:pt x="5907885" y="3479046"/>
                </a:lnTo>
                <a:lnTo>
                  <a:pt x="0" y="3479046"/>
                </a:lnTo>
                <a:lnTo>
                  <a:pt x="3916974" y="405504"/>
                </a:lnTo>
                <a:lnTo>
                  <a:pt x="3959456" y="373857"/>
                </a:lnTo>
                <a:cubicBezTo>
                  <a:pt x="4291086" y="139664"/>
                  <a:pt x="4671097" y="17528"/>
                  <a:pt x="5052215" y="1756"/>
                </a:cubicBezTo>
                <a:cubicBezTo>
                  <a:pt x="5091916" y="114"/>
                  <a:pt x="5131627" y="-375"/>
                  <a:pt x="5171297" y="284"/>
                </a:cubicBezTo>
                <a:close/>
              </a:path>
            </a:pathLst>
          </a:custGeom>
          <a:gradFill>
            <a:gsLst>
              <a:gs pos="23000">
                <a:schemeClr val="bg2">
                  <a:alpha val="64000"/>
                </a:schemeClr>
              </a:gs>
              <a:gs pos="100000">
                <a:schemeClr val="accent1">
                  <a:lumMod val="60000"/>
                  <a:lumOff val="4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882446" y="3092651"/>
            <a:ext cx="5429290" cy="2142559"/>
          </a:xfrm>
        </p:spPr>
        <p:txBody>
          <a:bodyPr>
            <a:normAutofit/>
          </a:bodyPr>
          <a:lstStyle/>
          <a:p>
            <a:pPr algn="r">
              <a:lnSpc>
                <a:spcPct val="90000"/>
              </a:lnSpc>
            </a:pPr>
            <a:r>
              <a:rPr lang="en-US" sz="4800"/>
              <a:t>Microsoft </a:t>
            </a:r>
            <a:r>
              <a:rPr lang="en-US" sz="4800" err="1"/>
              <a:t>Entra</a:t>
            </a:r>
            <a:r>
              <a:rPr lang="en-US" sz="4800"/>
              <a:t> Permissions Management</a:t>
            </a:r>
          </a:p>
        </p:txBody>
      </p:sp>
      <p:sp>
        <p:nvSpPr>
          <p:cNvPr id="3" name="Subtitle 2"/>
          <p:cNvSpPr>
            <a:spLocks noGrp="1"/>
          </p:cNvSpPr>
          <p:nvPr>
            <p:ph type="subTitle" idx="1"/>
          </p:nvPr>
        </p:nvSpPr>
        <p:spPr>
          <a:xfrm>
            <a:off x="5829817" y="5409639"/>
            <a:ext cx="5481920" cy="908807"/>
          </a:xfrm>
        </p:spPr>
        <p:txBody>
          <a:bodyPr>
            <a:noAutofit/>
          </a:bodyPr>
          <a:lstStyle/>
          <a:p>
            <a:pPr algn="r">
              <a:lnSpc>
                <a:spcPct val="110000"/>
              </a:lnSpc>
            </a:pPr>
            <a:r>
              <a:rPr lang="en-US" b="1"/>
              <a:t>Introduction</a:t>
            </a:r>
          </a:p>
          <a:p>
            <a:pPr algn="r">
              <a:lnSpc>
                <a:spcPct val="110000"/>
              </a:lnSpc>
            </a:pPr>
            <a:r>
              <a:rPr lang="en-US" b="1"/>
              <a:t>&lt;Name&gt;</a:t>
            </a:r>
          </a:p>
          <a:p>
            <a:pPr algn="r">
              <a:lnSpc>
                <a:spcPct val="110000"/>
              </a:lnSpc>
            </a:pPr>
            <a:r>
              <a:rPr lang="en-US" b="1"/>
              <a:t>&lt;Job role&gt;</a:t>
            </a:r>
          </a:p>
        </p:txBody>
      </p:sp>
    </p:spTree>
    <p:extLst>
      <p:ext uri="{BB962C8B-B14F-4D97-AF65-F5344CB8AC3E}">
        <p14:creationId xmlns:p14="http://schemas.microsoft.com/office/powerpoint/2010/main" val="12776722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Inactive Users </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vert="horz" wrap="square" lIns="0" tIns="0" rIns="0" bIns="0" rtlCol="0" anchor="t">
            <a:normAutofit/>
          </a:bodyPr>
          <a:lstStyle/>
          <a:p>
            <a:r>
              <a:rPr lang="en-US" dirty="0">
                <a:cs typeface="Segoe UI"/>
              </a:rPr>
              <a:t>Human identity that haven’t performed a write action in last 90 days </a:t>
            </a:r>
            <a:endParaRPr lang="en-US" dirty="0"/>
          </a:p>
          <a:p>
            <a:r>
              <a:rPr lang="en-US" dirty="0">
                <a:cs typeface="Segoe UI"/>
              </a:rPr>
              <a:t>Real Life Example: Account take over, possibly no MFA. </a:t>
            </a:r>
            <a:endParaRPr lang="en-US" dirty="0"/>
          </a:p>
          <a:p>
            <a:r>
              <a:rPr lang="en-US" dirty="0">
                <a:cs typeface="Segoe UI"/>
              </a:rPr>
              <a:t>What is your org's policy? </a:t>
            </a:r>
            <a:endParaRPr lang="en-US" dirty="0"/>
          </a:p>
          <a:p>
            <a:pPr lvl="1"/>
            <a:r>
              <a:rPr lang="en-US" dirty="0"/>
              <a:t>Removal of stale accounts? </a:t>
            </a:r>
          </a:p>
          <a:p>
            <a:pPr lvl="1"/>
            <a:r>
              <a:rPr lang="en-US" dirty="0"/>
              <a:t>What processes are in place for monitoring for activity on these accounts? </a:t>
            </a:r>
          </a:p>
          <a:p>
            <a:r>
              <a:rPr lang="en-US" dirty="0"/>
              <a:t>Report-Permissions Analytics Report</a:t>
            </a:r>
          </a:p>
          <a:p>
            <a:r>
              <a:rPr lang="en-US" dirty="0"/>
              <a:t>Remediation-Immediately clean up</a:t>
            </a:r>
          </a:p>
        </p:txBody>
      </p:sp>
    </p:spTree>
    <p:extLst>
      <p:ext uri="{BB962C8B-B14F-4D97-AF65-F5344CB8AC3E}">
        <p14:creationId xmlns:p14="http://schemas.microsoft.com/office/powerpoint/2010/main" val="1995674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Inactive Apps/Functional Accounts </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vert="horz" wrap="square" lIns="0" tIns="0" rIns="0" bIns="0" rtlCol="0" anchor="t">
            <a:normAutofit/>
          </a:bodyPr>
          <a:lstStyle/>
          <a:p>
            <a:r>
              <a:rPr lang="en-US" dirty="0">
                <a:cs typeface="Segoe UI"/>
              </a:rPr>
              <a:t>Non-human identity that haven’t performed an action in last 90 days </a:t>
            </a:r>
            <a:endParaRPr lang="en-US" dirty="0"/>
          </a:p>
          <a:p>
            <a:r>
              <a:rPr lang="en-US" dirty="0"/>
              <a:t>Real Life Example: Account take over and NO MFA!</a:t>
            </a:r>
          </a:p>
          <a:p>
            <a:r>
              <a:rPr lang="en-US" dirty="0">
                <a:cs typeface="Segoe UI"/>
              </a:rPr>
              <a:t>What is your org's policy? </a:t>
            </a:r>
            <a:endParaRPr lang="en-US" dirty="0"/>
          </a:p>
          <a:p>
            <a:pPr lvl="1"/>
            <a:r>
              <a:rPr lang="en-US" dirty="0"/>
              <a:t>Removal of stale service accounts? </a:t>
            </a:r>
          </a:p>
          <a:p>
            <a:pPr lvl="1"/>
            <a:r>
              <a:rPr lang="en-US" dirty="0"/>
              <a:t>What processes are in place for monitoring for activity on these accounts? </a:t>
            </a:r>
          </a:p>
          <a:p>
            <a:r>
              <a:rPr lang="en-US" dirty="0"/>
              <a:t>Report-Permissions Analytics Report</a:t>
            </a:r>
          </a:p>
          <a:p>
            <a:r>
              <a:rPr lang="en-US" dirty="0"/>
              <a:t>Remediation-Immediately clean up</a:t>
            </a:r>
          </a:p>
        </p:txBody>
      </p:sp>
    </p:spTree>
    <p:extLst>
      <p:ext uri="{BB962C8B-B14F-4D97-AF65-F5344CB8AC3E}">
        <p14:creationId xmlns:p14="http://schemas.microsoft.com/office/powerpoint/2010/main" val="27007525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Inactive Groups</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a:normAutofit/>
          </a:bodyPr>
          <a:lstStyle/>
          <a:p>
            <a:r>
              <a:rPr lang="en-US" dirty="0"/>
              <a:t>Members that haven’t performed any action on any resource in the last 90 days</a:t>
            </a:r>
          </a:p>
          <a:p>
            <a:r>
              <a:rPr lang="en-US" dirty="0"/>
              <a:t>What is your orgs policy? </a:t>
            </a:r>
          </a:p>
          <a:p>
            <a:pPr lvl="1"/>
            <a:r>
              <a:rPr lang="en-US" dirty="0"/>
              <a:t>What resources do groups have access to? </a:t>
            </a:r>
          </a:p>
          <a:p>
            <a:pPr lvl="1"/>
            <a:r>
              <a:rPr lang="en-US" dirty="0"/>
              <a:t>How is membership governed to these groups and resources? </a:t>
            </a:r>
          </a:p>
          <a:p>
            <a:r>
              <a:rPr lang="en-US" dirty="0"/>
              <a:t>Report-Permissions Analytics Report</a:t>
            </a:r>
          </a:p>
          <a:p>
            <a:r>
              <a:rPr lang="en-US"/>
              <a:t>Remediation-Immediately </a:t>
            </a:r>
            <a:r>
              <a:rPr lang="en-US" dirty="0"/>
              <a:t>clean up</a:t>
            </a:r>
          </a:p>
        </p:txBody>
      </p:sp>
    </p:spTree>
    <p:extLst>
      <p:ext uri="{BB962C8B-B14F-4D97-AF65-F5344CB8AC3E}">
        <p14:creationId xmlns:p14="http://schemas.microsoft.com/office/powerpoint/2010/main" val="2537896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3E1C4-766B-9EB8-D7E7-6B8B43D8EA68}"/>
              </a:ext>
            </a:extLst>
          </p:cNvPr>
          <p:cNvSpPr>
            <a:spLocks noGrp="1"/>
          </p:cNvSpPr>
          <p:nvPr>
            <p:ph type="title"/>
          </p:nvPr>
        </p:nvSpPr>
        <p:spPr>
          <a:xfrm>
            <a:off x="588263" y="2873414"/>
            <a:ext cx="4159950" cy="1107996"/>
          </a:xfrm>
        </p:spPr>
        <p:txBody>
          <a:bodyPr wrap="square" anchor="ctr">
            <a:normAutofit/>
          </a:bodyPr>
          <a:lstStyle/>
          <a:p>
            <a:r>
              <a:rPr lang="en-US"/>
              <a:t>Thank you!</a:t>
            </a:r>
          </a:p>
        </p:txBody>
      </p:sp>
      <p:pic>
        <p:nvPicPr>
          <p:cNvPr id="5" name="Picture 4">
            <a:extLst>
              <a:ext uri="{FF2B5EF4-FFF2-40B4-BE49-F238E27FC236}">
                <a16:creationId xmlns:a16="http://schemas.microsoft.com/office/drawing/2014/main" id="{87536084-859B-041F-6335-27D2F8604919}"/>
              </a:ext>
            </a:extLst>
          </p:cNvPr>
          <p:cNvPicPr>
            <a:picLocks noChangeAspect="1"/>
          </p:cNvPicPr>
          <p:nvPr/>
        </p:nvPicPr>
        <p:blipFill rotWithShape="1">
          <a:blip r:embed="rId2"/>
          <a:srcRect l="14145" r="19104" b="-1"/>
          <a:stretch/>
        </p:blipFill>
        <p:spPr>
          <a:xfrm>
            <a:off x="5334000" y="10"/>
            <a:ext cx="6858000" cy="6857990"/>
          </a:xfrm>
          <a:prstGeom prst="rect">
            <a:avLst/>
          </a:prstGeom>
          <a:noFill/>
        </p:spPr>
      </p:pic>
    </p:spTree>
    <p:extLst>
      <p:ext uri="{BB962C8B-B14F-4D97-AF65-F5344CB8AC3E}">
        <p14:creationId xmlns:p14="http://schemas.microsoft.com/office/powerpoint/2010/main" val="2214682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105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lliant at the Basics</a:t>
            </a:r>
          </a:p>
        </p:txBody>
      </p:sp>
      <p:sp>
        <p:nvSpPr>
          <p:cNvPr id="3" name="Subtitle 2"/>
          <p:cNvSpPr>
            <a:spLocks noGrp="1"/>
          </p:cNvSpPr>
          <p:nvPr>
            <p:ph type="body" sz="quarter" idx="12"/>
          </p:nvPr>
        </p:nvSpPr>
        <p:spPr>
          <a:xfrm>
            <a:off x="584200" y="3962400"/>
            <a:ext cx="6495574" cy="1015663"/>
          </a:xfrm>
        </p:spPr>
        <p:txBody>
          <a:bodyPr/>
          <a:lstStyle/>
          <a:p>
            <a:r>
              <a:rPr lang="en-US" dirty="0"/>
              <a:t>Triage the most critical items</a:t>
            </a:r>
          </a:p>
          <a:p>
            <a:endParaRPr lang="en-US" dirty="0"/>
          </a:p>
          <a:p>
            <a:r>
              <a:rPr lang="en-US" dirty="0"/>
              <a:t>Goal: Fix in under 30 days</a:t>
            </a:r>
          </a:p>
        </p:txBody>
      </p:sp>
    </p:spTree>
    <p:extLst>
      <p:ext uri="{BB962C8B-B14F-4D97-AF65-F5344CB8AC3E}">
        <p14:creationId xmlns:p14="http://schemas.microsoft.com/office/powerpoint/2010/main" val="10985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74CBF-05A2-DFFA-7198-02278FF995FA}"/>
              </a:ext>
            </a:extLst>
          </p:cNvPr>
          <p:cNvSpPr>
            <a:spLocks noGrp="1"/>
          </p:cNvSpPr>
          <p:nvPr>
            <p:ph type="title"/>
          </p:nvPr>
        </p:nvSpPr>
        <p:spPr>
          <a:xfrm>
            <a:off x="588263" y="585788"/>
            <a:ext cx="3182027" cy="5683250"/>
          </a:xfrm>
        </p:spPr>
        <p:txBody>
          <a:bodyPr wrap="square" anchor="ctr">
            <a:normAutofit/>
          </a:bodyPr>
          <a:lstStyle/>
          <a:p>
            <a:r>
              <a:rPr lang="en-US"/>
              <a:t>Critical Investigation Areas</a:t>
            </a:r>
          </a:p>
        </p:txBody>
      </p:sp>
      <p:sp>
        <p:nvSpPr>
          <p:cNvPr id="3" name="Content Placeholder 2">
            <a:extLst>
              <a:ext uri="{FF2B5EF4-FFF2-40B4-BE49-F238E27FC236}">
                <a16:creationId xmlns:a16="http://schemas.microsoft.com/office/drawing/2014/main" id="{9AC56F5C-DD2C-A3A5-3B86-7C752187D645}"/>
              </a:ext>
            </a:extLst>
          </p:cNvPr>
          <p:cNvSpPr>
            <a:spLocks noGrp="1"/>
          </p:cNvSpPr>
          <p:nvPr>
            <p:ph type="body" sz="quarter" idx="11"/>
          </p:nvPr>
        </p:nvSpPr>
        <p:spPr>
          <a:xfrm>
            <a:off x="4941888" y="585788"/>
            <a:ext cx="6667500" cy="5683249"/>
          </a:xfrm>
        </p:spPr>
        <p:txBody>
          <a:bodyPr wrap="square" anchor="ctr">
            <a:normAutofit/>
          </a:bodyPr>
          <a:lstStyle/>
          <a:p>
            <a:r>
              <a:rPr lang="en-US"/>
              <a:t>Internet Accessible </a:t>
            </a:r>
          </a:p>
          <a:p>
            <a:r>
              <a:rPr lang="en-US"/>
              <a:t>Most Permissive Accounts</a:t>
            </a:r>
          </a:p>
          <a:p>
            <a:r>
              <a:rPr lang="en-US"/>
              <a:t>Inactive Objects</a:t>
            </a:r>
          </a:p>
        </p:txBody>
      </p:sp>
    </p:spTree>
    <p:extLst>
      <p:ext uri="{BB962C8B-B14F-4D97-AF65-F5344CB8AC3E}">
        <p14:creationId xmlns:p14="http://schemas.microsoft.com/office/powerpoint/2010/main" val="40590159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Storage Accounts, S3 Buckets, GCP Storage</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vert="horz" wrap="square" lIns="0" tIns="0" rIns="0" bIns="0" rtlCol="0" anchor="t">
            <a:noAutofit/>
          </a:bodyPr>
          <a:lstStyle/>
          <a:p>
            <a:r>
              <a:rPr lang="en-US" sz="2400" b="1" dirty="0"/>
              <a:t>Anyone</a:t>
            </a:r>
            <a:r>
              <a:rPr lang="en-US" sz="2400" dirty="0"/>
              <a:t> can access the data in this storage container</a:t>
            </a:r>
          </a:p>
          <a:p>
            <a:r>
              <a:rPr lang="en-US" sz="2400" dirty="0"/>
              <a:t>Default off for some time</a:t>
            </a:r>
          </a:p>
          <a:p>
            <a:r>
              <a:rPr lang="en-US" sz="2400" dirty="0">
                <a:cs typeface="Segoe UI"/>
              </a:rPr>
              <a:t>Real Life Examples: Numerous (Booz Allen, Dow Jones, Verizon, Time Warner, </a:t>
            </a:r>
            <a:r>
              <a:rPr lang="en-US" sz="2400" dirty="0" err="1">
                <a:cs typeface="Segoe UI"/>
              </a:rPr>
              <a:t>etc</a:t>
            </a:r>
            <a:r>
              <a:rPr lang="en-US" sz="2400" dirty="0">
                <a:cs typeface="Segoe UI"/>
              </a:rPr>
              <a:t>) </a:t>
            </a:r>
            <a:endParaRPr lang="en-US" sz="2400" dirty="0"/>
          </a:p>
          <a:p>
            <a:r>
              <a:rPr lang="en-US" sz="2400" dirty="0">
                <a:cs typeface="Segoe UI"/>
              </a:rPr>
              <a:t>What is your org's policy? Never allowed? Allowed with approval? </a:t>
            </a:r>
            <a:endParaRPr lang="en-US" sz="2400" dirty="0"/>
          </a:p>
          <a:p>
            <a:pPr lvl="1"/>
            <a:r>
              <a:rPr lang="en-US" sz="2400" dirty="0"/>
              <a:t>What processes are in place for creation of these?</a:t>
            </a:r>
          </a:p>
          <a:p>
            <a:pPr lvl="1"/>
            <a:r>
              <a:rPr lang="en-US" sz="2400" dirty="0"/>
              <a:t>What processes are in place for monitoring/scanning for these? </a:t>
            </a:r>
          </a:p>
          <a:p>
            <a:r>
              <a:rPr lang="en-US" sz="2400" dirty="0"/>
              <a:t>Report-Permissions Analytics Report</a:t>
            </a:r>
          </a:p>
          <a:p>
            <a:r>
              <a:rPr lang="en-US" sz="2400" dirty="0">
                <a:cs typeface="Segoe UI"/>
              </a:rPr>
              <a:t>Remediation-Immediately if unexpected, possible IR depending on data exposed</a:t>
            </a:r>
          </a:p>
        </p:txBody>
      </p:sp>
    </p:spTree>
    <p:extLst>
      <p:ext uri="{BB962C8B-B14F-4D97-AF65-F5344CB8AC3E}">
        <p14:creationId xmlns:p14="http://schemas.microsoft.com/office/powerpoint/2010/main" val="19052400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Open Network Security Groups, Open Security Groups, GCP VPC Firewall</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a:xfrm>
            <a:off x="586581" y="1649845"/>
            <a:ext cx="11018838" cy="4833938"/>
          </a:xfrm>
        </p:spPr>
        <p:txBody>
          <a:bodyPr vert="horz" wrap="square" lIns="0" tIns="0" rIns="0" bIns="0" rtlCol="0" anchor="t">
            <a:noAutofit/>
          </a:bodyPr>
          <a:lstStyle/>
          <a:p>
            <a:r>
              <a:rPr lang="en-US" sz="2400" b="1" dirty="0"/>
              <a:t>Any IP </a:t>
            </a:r>
            <a:r>
              <a:rPr lang="en-US" sz="2400" dirty="0"/>
              <a:t>can access the resources behind on these ports</a:t>
            </a:r>
          </a:p>
          <a:p>
            <a:pPr lvl="1"/>
            <a:r>
              <a:rPr lang="en-US" sz="2400" dirty="0"/>
              <a:t>Foothold, exploit, lateral movement concerns</a:t>
            </a:r>
          </a:p>
          <a:p>
            <a:r>
              <a:rPr lang="en-US" sz="2400" dirty="0">
                <a:cs typeface="Segoe UI"/>
              </a:rPr>
              <a:t>Real Life Examples: Scanning, phase 2 of any </a:t>
            </a:r>
            <a:r>
              <a:rPr lang="en-US" sz="2400" dirty="0" err="1">
                <a:cs typeface="Segoe UI"/>
              </a:rPr>
              <a:t>pentest</a:t>
            </a:r>
            <a:r>
              <a:rPr lang="en-US" sz="2400" dirty="0">
                <a:cs typeface="Segoe UI"/>
              </a:rPr>
              <a:t> (paid or free), </a:t>
            </a:r>
            <a:r>
              <a:rPr lang="en-US" sz="2400" dirty="0" err="1">
                <a:cs typeface="Segoe UI"/>
              </a:rPr>
              <a:t>nmap</a:t>
            </a:r>
            <a:r>
              <a:rPr lang="en-US" sz="2400" dirty="0">
                <a:cs typeface="Segoe UI"/>
              </a:rPr>
              <a:t>, Shodan</a:t>
            </a:r>
          </a:p>
          <a:p>
            <a:r>
              <a:rPr lang="en-US" sz="2400" dirty="0">
                <a:cs typeface="Segoe UI"/>
              </a:rPr>
              <a:t>What is your org's policy? Never allowed? Allowed with approval? </a:t>
            </a:r>
            <a:endParaRPr lang="en-US" sz="2400" dirty="0"/>
          </a:p>
          <a:p>
            <a:pPr lvl="1"/>
            <a:r>
              <a:rPr lang="en-US" sz="2400" dirty="0"/>
              <a:t>What processes are in place for creation of these?</a:t>
            </a:r>
          </a:p>
          <a:p>
            <a:pPr lvl="1"/>
            <a:r>
              <a:rPr lang="en-US" sz="2400" dirty="0"/>
              <a:t>What processes are in place for monitoring/scanning for these? </a:t>
            </a:r>
          </a:p>
          <a:p>
            <a:pPr lvl="1"/>
            <a:r>
              <a:rPr lang="en-US" sz="2400" dirty="0"/>
              <a:t>What is the decommission process or these resources?</a:t>
            </a:r>
          </a:p>
          <a:p>
            <a:r>
              <a:rPr lang="en-US" sz="2400" dirty="0"/>
              <a:t>Report-Permissions Analytics Report</a:t>
            </a:r>
          </a:p>
          <a:p>
            <a:r>
              <a:rPr lang="en-US" sz="2400" dirty="0">
                <a:cs typeface="Segoe UI"/>
              </a:rPr>
              <a:t>Remediation-Immediately if unexpected, most likely IR process</a:t>
            </a:r>
          </a:p>
        </p:txBody>
      </p:sp>
    </p:spTree>
    <p:extLst>
      <p:ext uri="{BB962C8B-B14F-4D97-AF65-F5344CB8AC3E}">
        <p14:creationId xmlns:p14="http://schemas.microsoft.com/office/powerpoint/2010/main" val="41729265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Azure AD Insights </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a:xfrm>
            <a:off x="584200" y="1435100"/>
            <a:ext cx="11018838" cy="3668697"/>
          </a:xfrm>
        </p:spPr>
        <p:txBody>
          <a:bodyPr vert="horz" wrap="square" lIns="0" tIns="0" rIns="0" bIns="0" rtlCol="0" anchor="t">
            <a:spAutoFit/>
          </a:bodyPr>
          <a:lstStyle/>
          <a:p>
            <a:r>
              <a:rPr lang="en-US" dirty="0">
                <a:cs typeface="Segoe UI"/>
              </a:rPr>
              <a:t>Privileged Roles in Azure AD must be minimized for human and non-human identities</a:t>
            </a:r>
          </a:p>
          <a:p>
            <a:r>
              <a:rPr lang="en-US" dirty="0"/>
              <a:t>Real Life Examples: Tier 0 resource </a:t>
            </a:r>
          </a:p>
          <a:p>
            <a:r>
              <a:rPr lang="en-US" dirty="0">
                <a:cs typeface="Segoe UI"/>
              </a:rPr>
              <a:t>What is your org's policy?</a:t>
            </a:r>
          </a:p>
          <a:p>
            <a:pPr lvl="1"/>
            <a:r>
              <a:rPr lang="en-US" dirty="0"/>
              <a:t>Are these break glass accounts? </a:t>
            </a:r>
          </a:p>
          <a:p>
            <a:pPr lvl="1"/>
            <a:r>
              <a:rPr lang="en-US" dirty="0"/>
              <a:t>How do we handle privilege accounts? </a:t>
            </a:r>
          </a:p>
          <a:p>
            <a:r>
              <a:rPr lang="en-US" dirty="0"/>
              <a:t>Report-Permissions Analytics Report</a:t>
            </a:r>
          </a:p>
          <a:p>
            <a:r>
              <a:rPr lang="en-US" dirty="0">
                <a:cs typeface="Segoe UI"/>
              </a:rPr>
              <a:t>Remediation-Immediately if unexpected possible IR </a:t>
            </a:r>
            <a:endParaRPr lang="en-US" dirty="0"/>
          </a:p>
        </p:txBody>
      </p:sp>
    </p:spTree>
    <p:extLst>
      <p:ext uri="{BB962C8B-B14F-4D97-AF65-F5344CB8AC3E}">
        <p14:creationId xmlns:p14="http://schemas.microsoft.com/office/powerpoint/2010/main" val="24517111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Super Identities </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type="body" sz="quarter" idx="10"/>
          </p:nvPr>
        </p:nvSpPr>
        <p:spPr>
          <a:xfrm>
            <a:off x="586390" y="1434370"/>
            <a:ext cx="11018520" cy="4966430"/>
          </a:xfrm>
        </p:spPr>
        <p:txBody>
          <a:bodyPr>
            <a:noAutofit/>
          </a:bodyPr>
          <a:lstStyle/>
          <a:p>
            <a:pPr marL="342900" indent="-342900">
              <a:buFont typeface="Arial" panose="020B0604020202020204" pitchFamily="34" charset="0"/>
              <a:buChar char="•"/>
            </a:pPr>
            <a:r>
              <a:rPr lang="en-US" sz="2000" dirty="0"/>
              <a:t>Human and non-human accounts with equivalent permissions of GA (Azure), Root (AWS), GCP (Super Admin) </a:t>
            </a:r>
          </a:p>
          <a:p>
            <a:pPr marL="342900" indent="-342900">
              <a:buFont typeface="Arial" panose="020B0604020202020204" pitchFamily="34" charset="0"/>
              <a:buChar char="•"/>
            </a:pPr>
            <a:r>
              <a:rPr lang="en-US" sz="2000" dirty="0"/>
              <a:t>Real Life Examples: Least privilege prevents a bad breach from being even worse. </a:t>
            </a:r>
          </a:p>
          <a:p>
            <a:pPr marL="342900" indent="-342900">
              <a:buFont typeface="Arial" panose="020B0604020202020204" pitchFamily="34" charset="0"/>
              <a:buChar char="•"/>
            </a:pPr>
            <a:r>
              <a:rPr lang="en-US" sz="2000" dirty="0"/>
              <a:t>What is your org’s policy? </a:t>
            </a:r>
          </a:p>
          <a:p>
            <a:pPr marL="571500" lvl="1" indent="-342900">
              <a:buFont typeface="Arial" panose="020B0604020202020204" pitchFamily="34" charset="0"/>
              <a:buChar char="•"/>
            </a:pPr>
            <a:r>
              <a:rPr lang="en-US" dirty="0"/>
              <a:t>Human-What is their authentication methods (AAL3/2/1)?</a:t>
            </a:r>
          </a:p>
          <a:p>
            <a:pPr marL="571500" lvl="1" indent="-342900">
              <a:buFont typeface="Arial" panose="020B0604020202020204" pitchFamily="34" charset="0"/>
              <a:buChar char="•"/>
            </a:pPr>
            <a:r>
              <a:rPr lang="en-US" dirty="0"/>
              <a:t>Non-Human-What is their authentication methods (MSI/Cert/Shared Secret)? </a:t>
            </a:r>
          </a:p>
          <a:p>
            <a:pPr marL="800100" lvl="2" indent="-342900">
              <a:buFont typeface="Arial" panose="020B0604020202020204" pitchFamily="34" charset="0"/>
              <a:buChar char="•"/>
            </a:pPr>
            <a:r>
              <a:rPr lang="en-US" sz="2000" dirty="0"/>
              <a:t>How frequently are these rotated?</a:t>
            </a:r>
          </a:p>
          <a:p>
            <a:pPr marL="571500" lvl="1" indent="-342900">
              <a:buFont typeface="Arial" panose="020B0604020202020204" pitchFamily="34" charset="0"/>
              <a:buChar char="•"/>
            </a:pPr>
            <a:r>
              <a:rPr lang="en-US" dirty="0"/>
              <a:t>What processes are in place for creation/deletion of these?</a:t>
            </a:r>
          </a:p>
          <a:p>
            <a:pPr marL="571500" lvl="1" indent="-342900">
              <a:buFont typeface="Arial" panose="020B0604020202020204" pitchFamily="34" charset="0"/>
              <a:buChar char="•"/>
            </a:pPr>
            <a:r>
              <a:rPr lang="en-US" dirty="0"/>
              <a:t>What processes are in place for monitoring for these? </a:t>
            </a:r>
          </a:p>
          <a:p>
            <a:pPr marL="571500" lvl="1" indent="-342900">
              <a:buFont typeface="Arial" panose="020B0604020202020204" pitchFamily="34" charset="0"/>
              <a:buChar char="•"/>
            </a:pPr>
            <a:r>
              <a:rPr lang="en-US" dirty="0"/>
              <a:t>How do you implement least privilege practices? </a:t>
            </a:r>
          </a:p>
          <a:p>
            <a:pPr marL="342900" indent="-342900">
              <a:buFont typeface="Arial" panose="020B0604020202020204" pitchFamily="34" charset="0"/>
              <a:buChar char="•"/>
            </a:pPr>
            <a:r>
              <a:rPr lang="en-US" sz="2000" dirty="0"/>
              <a:t>Report-Permissions Analytics Report</a:t>
            </a:r>
          </a:p>
          <a:p>
            <a:pPr marL="342900" indent="-342900">
              <a:buFont typeface="Arial" panose="020B0604020202020204" pitchFamily="34" charset="0"/>
              <a:buChar char="•"/>
            </a:pPr>
            <a:r>
              <a:rPr lang="en-US" sz="2000" dirty="0"/>
              <a:t>Remediation-Immediately if unexpected possible IR </a:t>
            </a:r>
          </a:p>
        </p:txBody>
      </p:sp>
    </p:spTree>
    <p:extLst>
      <p:ext uri="{BB962C8B-B14F-4D97-AF65-F5344CB8AC3E}">
        <p14:creationId xmlns:p14="http://schemas.microsoft.com/office/powerpoint/2010/main" val="3859254645"/>
      </p:ext>
    </p:extLst>
  </p:cSld>
  <p:clrMapOvr>
    <a:overrideClrMapping bg1="lt1" tx1="dk1" bg2="lt2" tx2="dk2" accent1="accent1" accent2="accent2" accent3="accent3" accent4="accent4" accent5="accent5" accent6="accent6" hlink="hlink" folHlink="folHlink"/>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Privilege Escalation </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vert="horz" wrap="square" lIns="0" tIns="0" rIns="0" bIns="0" rtlCol="0" anchor="t">
            <a:normAutofit/>
          </a:bodyPr>
          <a:lstStyle/>
          <a:p>
            <a:r>
              <a:rPr lang="en-US" dirty="0"/>
              <a:t>Misconfigured IAM policy or configuration oversight will allow elevated access to other permissions or resources</a:t>
            </a:r>
          </a:p>
          <a:p>
            <a:r>
              <a:rPr lang="en-US" dirty="0">
                <a:cs typeface="Segoe UI"/>
              </a:rPr>
              <a:t>Real Life Example: Numerous (</a:t>
            </a:r>
            <a:r>
              <a:rPr lang="en-US" dirty="0" err="1">
                <a:cs typeface="Segoe UI"/>
              </a:rPr>
              <a:t>ProxyNotShell</a:t>
            </a:r>
            <a:r>
              <a:rPr lang="en-US" dirty="0">
                <a:cs typeface="Segoe UI"/>
              </a:rPr>
              <a:t> (Exchange), AnyConnect, vCenter) </a:t>
            </a:r>
            <a:endParaRPr lang="en-US" dirty="0"/>
          </a:p>
          <a:p>
            <a:r>
              <a:rPr lang="en-US" dirty="0">
                <a:cs typeface="Segoe UI"/>
              </a:rPr>
              <a:t>What is your org's policy? </a:t>
            </a:r>
            <a:endParaRPr lang="en-US" dirty="0"/>
          </a:p>
          <a:p>
            <a:pPr lvl="1"/>
            <a:r>
              <a:rPr lang="en-US" dirty="0"/>
              <a:t>Toxic combination? </a:t>
            </a:r>
          </a:p>
          <a:p>
            <a:pPr lvl="1"/>
            <a:r>
              <a:rPr lang="en-US" dirty="0"/>
              <a:t>What processes are in place for monitoring for these? </a:t>
            </a:r>
          </a:p>
          <a:p>
            <a:r>
              <a:rPr lang="en-US" dirty="0"/>
              <a:t>Report-Permissions Analytics Report</a:t>
            </a:r>
          </a:p>
          <a:p>
            <a:r>
              <a:rPr lang="en-US" dirty="0">
                <a:cs typeface="Segoe UI"/>
              </a:rPr>
              <a:t>Remediation-Immediately if unexpected possible IR </a:t>
            </a:r>
            <a:endParaRPr lang="en-US" dirty="0"/>
          </a:p>
        </p:txBody>
      </p:sp>
    </p:spTree>
    <p:extLst>
      <p:ext uri="{BB962C8B-B14F-4D97-AF65-F5344CB8AC3E}">
        <p14:creationId xmlns:p14="http://schemas.microsoft.com/office/powerpoint/2010/main" val="3478466061"/>
      </p:ext>
    </p:extLst>
  </p:cSld>
  <p:clrMapOvr>
    <a:overrideClrMapping bg1="lt1" tx1="dk1" bg2="lt2" tx2="dk2" accent1="accent1" accent2="accent2" accent3="accent3" accent4="accent4" accent5="accent5" accent6="accent6" hlink="hlink" folHlink="folHlink"/>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82486-F4B2-D44B-CC14-CB8EF850D65C}"/>
              </a:ext>
            </a:extLst>
          </p:cNvPr>
          <p:cNvSpPr>
            <a:spLocks noGrp="1"/>
          </p:cNvSpPr>
          <p:nvPr>
            <p:ph type="title"/>
          </p:nvPr>
        </p:nvSpPr>
        <p:spPr/>
        <p:txBody>
          <a:bodyPr/>
          <a:lstStyle/>
          <a:p>
            <a:r>
              <a:rPr lang="en-US"/>
              <a:t>Identities that can access secret information/Security Tools (AWS)</a:t>
            </a:r>
          </a:p>
        </p:txBody>
      </p:sp>
      <p:sp>
        <p:nvSpPr>
          <p:cNvPr id="3" name="Content Placeholder 2">
            <a:extLst>
              <a:ext uri="{FF2B5EF4-FFF2-40B4-BE49-F238E27FC236}">
                <a16:creationId xmlns:a16="http://schemas.microsoft.com/office/drawing/2014/main" id="{504AE0DF-1BFE-E2A4-FC97-7912B4F82C77}"/>
              </a:ext>
            </a:extLst>
          </p:cNvPr>
          <p:cNvSpPr>
            <a:spLocks noGrp="1"/>
          </p:cNvSpPr>
          <p:nvPr>
            <p:ph sz="quarter" idx="10"/>
          </p:nvPr>
        </p:nvSpPr>
        <p:spPr/>
        <p:txBody>
          <a:bodyPr vert="horz" wrap="square" lIns="0" tIns="0" rIns="0" bIns="0" rtlCol="0" anchor="t">
            <a:normAutofit/>
          </a:bodyPr>
          <a:lstStyle/>
          <a:p>
            <a:r>
              <a:rPr lang="en-US" dirty="0">
                <a:cs typeface="Segoe UI"/>
              </a:rPr>
              <a:t>Identities that have privilege to read/modify/delete secrets, or make changes to security tools</a:t>
            </a:r>
          </a:p>
          <a:p>
            <a:r>
              <a:rPr lang="en-US" dirty="0">
                <a:cs typeface="Segoe UI"/>
              </a:rPr>
              <a:t>What is your org's policy? </a:t>
            </a:r>
            <a:endParaRPr lang="en-US" dirty="0"/>
          </a:p>
          <a:p>
            <a:pPr lvl="1"/>
            <a:r>
              <a:rPr lang="en-US" dirty="0"/>
              <a:t>How do you rotate secrets or protect them? </a:t>
            </a:r>
          </a:p>
          <a:p>
            <a:pPr lvl="1"/>
            <a:r>
              <a:rPr lang="en-US" dirty="0"/>
              <a:t>What processes are in place for monitoring for actions on these </a:t>
            </a:r>
            <a:r>
              <a:rPr lang="en-US" dirty="0" err="1"/>
              <a:t>secerets</a:t>
            </a:r>
            <a:r>
              <a:rPr lang="en-US" dirty="0"/>
              <a:t>?</a:t>
            </a:r>
          </a:p>
          <a:p>
            <a:pPr lvl="1"/>
            <a:r>
              <a:rPr lang="en-US" dirty="0"/>
              <a:t>Change management process? </a:t>
            </a:r>
          </a:p>
          <a:p>
            <a:r>
              <a:rPr lang="en-US" dirty="0"/>
              <a:t>Report-Permissions Analytics Report</a:t>
            </a:r>
          </a:p>
          <a:p>
            <a:r>
              <a:rPr lang="en-US" dirty="0">
                <a:cs typeface="Segoe UI"/>
              </a:rPr>
              <a:t>Remediation-Immediately if unexpected possible IR </a:t>
            </a:r>
            <a:endParaRPr lang="en-US" dirty="0"/>
          </a:p>
        </p:txBody>
      </p:sp>
    </p:spTree>
    <p:extLst>
      <p:ext uri="{BB962C8B-B14F-4D97-AF65-F5344CB8AC3E}">
        <p14:creationId xmlns:p14="http://schemas.microsoft.com/office/powerpoint/2010/main" val="15433879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QivBkoCP.hdAl60THPYaQ"/>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DAD59A1E-319E-1145-A2C7-ABEBE14B6918}" vid="{BD321E4B-32E9-9D48-9322-11F27A00D9C6}"/>
    </a:ext>
  </a:extLst>
</a:theme>
</file>

<file path=ppt/theme/theme2.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07D848B4-F5FE-2744-A110-BE20648D9F20}" vid="{12DB20CD-DDA2-894B-8FA9-C6CFC2F83E77}"/>
    </a:ext>
  </a:extLst>
</a:theme>
</file>

<file path=ppt/theme/theme3.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07D848B4-F5FE-2744-A110-BE20648D9F20}" vid="{5F1FE710-E20D-4F44-A968-09994B2B422C}"/>
    </a:ext>
  </a:extLst>
</a:theme>
</file>

<file path=ppt/theme/theme4.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07D848B4-F5FE-2744-A110-BE20648D9F20}" vid="{A755EEDE-D447-BE43-A0A1-4B5FB114E2FF}"/>
    </a:ext>
  </a:extLst>
</a:theme>
</file>

<file path=ppt/theme/theme5.xml><?xml version="1.0" encoding="utf-8"?>
<a:theme xmlns:a="http://schemas.openxmlformats.org/drawingml/2006/main" name="6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07D848B4-F5FE-2744-A110-BE20648D9F20}" vid="{9B540EEC-E5D6-9A47-819D-8C89090685B0}"/>
    </a:ext>
  </a:extLst>
</a:theme>
</file>

<file path=ppt/theme/theme6.xml><?xml version="1.0" encoding="utf-8"?>
<a:theme xmlns:a="http://schemas.openxmlformats.org/drawingml/2006/main" name="9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07D848B4-F5FE-2744-A110-BE20648D9F20}" vid="{7CDCB951-4F6D-9746-B97B-3509A02B9932}"/>
    </a:ext>
  </a:extLst>
</a:theme>
</file>

<file path=ppt/theme/theme7.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01-Introduction" id="{FC7996A1-219E-9F49-B668-600DF1DADE8C}" vid="{7733381E-5F8F-AD43-9AF6-EFB1538549C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ppt/theme/themeOverride2.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ppt/theme/themeOverride3.xml><?xml version="1.0" encoding="utf-8"?>
<a:themeOverride xmlns:a="http://schemas.openxmlformats.org/drawingml/2006/main">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themeOverride>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0</TotalTime>
  <Words>689</Words>
  <Application>Microsoft Office PowerPoint</Application>
  <PresentationFormat>Widescreen</PresentationFormat>
  <Paragraphs>100</Paragraphs>
  <Slides>14</Slides>
  <Notes>9</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29" baseType="lpstr">
      <vt:lpstr>Apercu Pro</vt:lpstr>
      <vt:lpstr>Arial</vt:lpstr>
      <vt:lpstr>Calibri</vt:lpstr>
      <vt:lpstr>Consolas</vt:lpstr>
      <vt:lpstr>Segoe UI</vt:lpstr>
      <vt:lpstr>Segoe UI Semibold</vt:lpstr>
      <vt:lpstr>Wingdings</vt:lpstr>
      <vt:lpstr>1_Microsoft Security template</vt:lpstr>
      <vt:lpstr>2_Microsoft Security template</vt:lpstr>
      <vt:lpstr>Microsoft Security template</vt:lpstr>
      <vt:lpstr>3_Microsoft Security template</vt:lpstr>
      <vt:lpstr>6_Microsoft Security template</vt:lpstr>
      <vt:lpstr>9_Microsoft Security template</vt:lpstr>
      <vt:lpstr>1_Microsoft Security template</vt:lpstr>
      <vt:lpstr>think-cell Slide</vt:lpstr>
      <vt:lpstr>Microsoft Entra Permissions Management</vt:lpstr>
      <vt:lpstr>Brilliant at the Basics</vt:lpstr>
      <vt:lpstr>Critical Investigation Areas</vt:lpstr>
      <vt:lpstr>Storage Accounts, S3 Buckets, GCP Storage</vt:lpstr>
      <vt:lpstr>Open Network Security Groups, Open Security Groups, GCP VPC Firewall</vt:lpstr>
      <vt:lpstr>Azure AD Insights </vt:lpstr>
      <vt:lpstr>Super Identities </vt:lpstr>
      <vt:lpstr>Privilege Escalation </vt:lpstr>
      <vt:lpstr>Identities that can access secret information/Security Tools (AWS)</vt:lpstr>
      <vt:lpstr>Inactive Users </vt:lpstr>
      <vt:lpstr>Inactive Apps/Functional Accounts </vt:lpstr>
      <vt:lpstr>Inactive Groups</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9T22:18:09Z</dcterms:created>
  <dcterms:modified xsi:type="dcterms:W3CDTF">2024-01-29T22:24:48Z</dcterms:modified>
</cp:coreProperties>
</file>